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85" r:id="rId5"/>
  </p:sldMasterIdLst>
  <p:notesMasterIdLst>
    <p:notesMasterId r:id="rId26"/>
  </p:notesMasterIdLst>
  <p:sldIdLst>
    <p:sldId id="329" r:id="rId6"/>
    <p:sldId id="2147482597" r:id="rId7"/>
    <p:sldId id="367" r:id="rId8"/>
    <p:sldId id="2147482596" r:id="rId9"/>
    <p:sldId id="340" r:id="rId10"/>
    <p:sldId id="366" r:id="rId11"/>
    <p:sldId id="269" r:id="rId12"/>
    <p:sldId id="373" r:id="rId13"/>
    <p:sldId id="370" r:id="rId14"/>
    <p:sldId id="368" r:id="rId15"/>
    <p:sldId id="369" r:id="rId16"/>
    <p:sldId id="342" r:id="rId17"/>
    <p:sldId id="343" r:id="rId18"/>
    <p:sldId id="365" r:id="rId19"/>
    <p:sldId id="299" r:id="rId20"/>
    <p:sldId id="353" r:id="rId21"/>
    <p:sldId id="346" r:id="rId22"/>
    <p:sldId id="348" r:id="rId23"/>
    <p:sldId id="347" r:id="rId24"/>
    <p:sldId id="28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37763A-418E-4CDF-7C1E-0321E9E5FC5F}" name="Gavin Roe-Pearce" initials="GP" userId="S::Gavin.Pearce@neso.energy::17ef55c5-5c4c-46eb-8129-39657cd1db75" providerId="AD"/>
  <p188:author id="{3A11A35D-05A1-A3D6-36FC-B44EA29D24E5}" name="Ravi Dattani" initials="RD" userId="S::ravi.dattani@neso.energy::5565c894-527c-4b4c-9255-ce4dc2d087b2" providerId="AD"/>
  <p188:author id="{10230070-28BF-BD2D-36B1-2BF1E5E9CAB8}" name="Nick Smith" initials="NS" userId="S::Nick.Smith@neso.energy::3e9c3b50-9271-4795-bb2e-6e49460c52cb" providerId="AD"/>
  <p188:author id="{FDA3C4A5-6E5D-F3F8-759D-707D0A8EED57}" name="Bridget Hartley" initials="BH" userId="S::Bridget.Hartley1@neso.energy::3c6733d3-7ccd-4307-b412-8969539e456e" providerId="AD"/>
  <p188:author id="{E1C52DAF-A83C-96DE-B9C9-BBB11F7814B9}" name="Faith Natukunda" initials="FN" userId="S::faith.natukunda@neso.energy::d7688072-4ce5-4fc5-abae-873989cdb75d" providerId="AD"/>
  <p188:author id="{BE7A90B2-3930-D4C8-F6A9-E277B0702FB6}" name="Nick Smith" initials="NS" userId="S::nick.smith@neso.energy::3e9c3b50-9271-4795-bb2e-6e49460c52cb" providerId="AD"/>
  <p188:author id="{FD3CFCEE-AE76-DE21-489B-943EE9C70856}" name="Callum Coghlan [MSP]" initials="CC" userId="S::Callum.Coghlan@neso.energy::3a85c7c2-1b19-4ed5-b9cd-3d653d3bf259" providerId="AD"/>
  <p188:author id="{3F5ED8EF-B1B8-D81F-7004-12EA452C1A6D}" name="Oscar Bond [MSP]" initials="OB" userId="S::Oscar.Bond@neso.energy::0936bff8-706c-42c9-9e2f-a74d95c574e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F07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97AF4F-4953-FEFF-AC1A-5095F05198C5}" v="13" vWet="14" dt="2026-03-06T09:20:34.663"/>
    <p1510:client id="{74E27C7E-9885-5239-8139-147F4C3A3882}" v="21" dt="2026-03-06T09:48:34.926"/>
    <p1510:client id="{94CDD40A-4B81-6709-92ED-CF0A084340E0}" v="5" dt="2026-03-05T10:09:48.561"/>
    <p1510:client id="{FFFF0789-DD84-4031-B4E2-5F78E8CBB847}" v="163" dt="2026-03-06T09:28:52.7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ssing-Joy Ojobo" userId="S::iyiosayiblessingjoy.okunkpolor@neso.energy::522a73cc-60af-40b7-afeb-86c46c13d63a" providerId="AD" clId="Web-{AFBECEB0-5F4A-1429-2496-477745632601}"/>
    <pc:docChg chg="sldOrd">
      <pc:chgData name="Blessing-Joy Ojobo" userId="S::iyiosayiblessingjoy.okunkpolor@neso.energy::522a73cc-60af-40b7-afeb-86c46c13d63a" providerId="AD" clId="Web-{AFBECEB0-5F4A-1429-2496-477745632601}" dt="2026-02-20T16:05:38.226" v="1"/>
      <pc:docMkLst>
        <pc:docMk/>
      </pc:docMkLst>
    </pc:docChg>
  </pc:docChgLst>
  <pc:docChgLst>
    <pc:chgData name="Nick Smith" userId="S::nick.smith@neso.energy::3e9c3b50-9271-4795-bb2e-6e49460c52cb" providerId="AD" clId="Web-{4693BC2C-4EDF-940A-BB1B-065A2874D96F}"/>
    <pc:docChg chg="modSld">
      <pc:chgData name="Nick Smith" userId="S::nick.smith@neso.energy::3e9c3b50-9271-4795-bb2e-6e49460c52cb" providerId="AD" clId="Web-{4693BC2C-4EDF-940A-BB1B-065A2874D96F}" dt="2026-03-02T15:28:28.598" v="81" actId="20577"/>
      <pc:docMkLst>
        <pc:docMk/>
      </pc:docMkLst>
      <pc:sldChg chg="modSp">
        <pc:chgData name="Nick Smith" userId="S::nick.smith@neso.energy::3e9c3b50-9271-4795-bb2e-6e49460c52cb" providerId="AD" clId="Web-{4693BC2C-4EDF-940A-BB1B-065A2874D96F}" dt="2026-03-02T15:28:28.598" v="81" actId="20577"/>
        <pc:sldMkLst>
          <pc:docMk/>
          <pc:sldMk cId="2981301011" sldId="329"/>
        </pc:sldMkLst>
        <pc:spChg chg="mod">
          <ac:chgData name="Nick Smith" userId="S::nick.smith@neso.energy::3e9c3b50-9271-4795-bb2e-6e49460c52cb" providerId="AD" clId="Web-{4693BC2C-4EDF-940A-BB1B-065A2874D96F}" dt="2026-03-02T15:28:28.598" v="81" actId="20577"/>
          <ac:spMkLst>
            <pc:docMk/>
            <pc:sldMk cId="2981301011" sldId="329"/>
            <ac:spMk id="3" creationId="{C22C44F2-239D-553A-8BA3-6C9B6F35EFFF}"/>
          </ac:spMkLst>
        </pc:spChg>
      </pc:sldChg>
      <pc:sldChg chg="addSp delSp modSp">
        <pc:chgData name="Nick Smith" userId="S::nick.smith@neso.energy::3e9c3b50-9271-4795-bb2e-6e49460c52cb" providerId="AD" clId="Web-{4693BC2C-4EDF-940A-BB1B-065A2874D96F}" dt="2026-03-02T13:00:40.708" v="20"/>
        <pc:sldMkLst>
          <pc:docMk/>
          <pc:sldMk cId="223043884" sldId="366"/>
        </pc:sldMkLst>
        <pc:picChg chg="add mod ord">
          <ac:chgData name="Nick Smith" userId="S::nick.smith@neso.energy::3e9c3b50-9271-4795-bb2e-6e49460c52cb" providerId="AD" clId="Web-{4693BC2C-4EDF-940A-BB1B-065A2874D96F}" dt="2026-03-02T13:00:34.879" v="19"/>
          <ac:picMkLst>
            <pc:docMk/>
            <pc:sldMk cId="223043884" sldId="366"/>
            <ac:picMk id="18" creationId="{90FD6900-6C17-C4F7-7FF0-06FCCF1F5783}"/>
          </ac:picMkLst>
        </pc:picChg>
        <pc:picChg chg="add mod ord">
          <ac:chgData name="Nick Smith" userId="S::nick.smith@neso.energy::3e9c3b50-9271-4795-bb2e-6e49460c52cb" providerId="AD" clId="Web-{4693BC2C-4EDF-940A-BB1B-065A2874D96F}" dt="2026-03-02T13:00:40.708" v="20"/>
          <ac:picMkLst>
            <pc:docMk/>
            <pc:sldMk cId="223043884" sldId="366"/>
            <ac:picMk id="19" creationId="{324B9B33-7E63-2FCB-1288-D13679DD125A}"/>
          </ac:picMkLst>
        </pc:picChg>
      </pc:sldChg>
    </pc:docChg>
  </pc:docChgLst>
  <pc:docChgLst>
    <pc:chgData name="Angela Ugwuoke" userId="S::abumchukwu.ugwuoke@neso.energy::e704df0a-0a64-4f2f-b045-c106e41efb49" providerId="AD" clId="Web-{5897AF4F-4953-FEFF-AC1A-5095F05198C5}"/>
    <pc:docChg chg="modSld">
      <pc:chgData name="Angela Ugwuoke" userId="S::abumchukwu.ugwuoke@neso.energy::e704df0a-0a64-4f2f-b045-c106e41efb49" providerId="AD" clId="Web-{5897AF4F-4953-FEFF-AC1A-5095F05198C5}" dt="2026-03-06T09:20:31.382" v="4" actId="20577"/>
      <pc:docMkLst>
        <pc:docMk/>
      </pc:docMkLst>
      <pc:sldChg chg="modSp">
        <pc:chgData name="Angela Ugwuoke" userId="S::abumchukwu.ugwuoke@neso.energy::e704df0a-0a64-4f2f-b045-c106e41efb49" providerId="AD" clId="Web-{5897AF4F-4953-FEFF-AC1A-5095F05198C5}" dt="2026-03-06T09:20:31.382" v="4" actId="20577"/>
        <pc:sldMkLst>
          <pc:docMk/>
          <pc:sldMk cId="2981301011" sldId="329"/>
        </pc:sldMkLst>
        <pc:spChg chg="mod">
          <ac:chgData name="Angela Ugwuoke" userId="S::abumchukwu.ugwuoke@neso.energy::e704df0a-0a64-4f2f-b045-c106e41efb49" providerId="AD" clId="Web-{5897AF4F-4953-FEFF-AC1A-5095F05198C5}" dt="2026-03-06T09:20:15.475" v="3" actId="20577"/>
          <ac:spMkLst>
            <pc:docMk/>
            <pc:sldMk cId="2981301011" sldId="329"/>
            <ac:spMk id="3" creationId="{C22C44F2-239D-553A-8BA3-6C9B6F35EFFF}"/>
          </ac:spMkLst>
        </pc:spChg>
        <pc:spChg chg="mod">
          <ac:chgData name="Angela Ugwuoke" userId="S::abumchukwu.ugwuoke@neso.energy::e704df0a-0a64-4f2f-b045-c106e41efb49" providerId="AD" clId="Web-{5897AF4F-4953-FEFF-AC1A-5095F05198C5}" dt="2026-03-06T09:20:31.382" v="4" actId="20577"/>
          <ac:spMkLst>
            <pc:docMk/>
            <pc:sldMk cId="2981301011" sldId="329"/>
            <ac:spMk id="8" creationId="{51960CFA-D758-949F-D48F-7379EB6E3BBC}"/>
          </ac:spMkLst>
        </pc:spChg>
      </pc:sldChg>
    </pc:docChg>
  </pc:docChgLst>
  <pc:docChgLst>
    <pc:chgData name="Nick Smith" userId="S::nick.smith@neso.energy::3e9c3b50-9271-4795-bb2e-6e49460c52cb" providerId="AD" clId="Web-{A6356315-FB6A-C2A4-2113-4E61B821A751}"/>
    <pc:docChg chg="addSld modSld">
      <pc:chgData name="Nick Smith" userId="S::nick.smith@neso.energy::3e9c3b50-9271-4795-bb2e-6e49460c52cb" providerId="AD" clId="Web-{A6356315-FB6A-C2A4-2113-4E61B821A751}" dt="2026-03-03T14:44:12.302" v="5" actId="14100"/>
      <pc:docMkLst>
        <pc:docMk/>
      </pc:docMkLst>
      <pc:sldChg chg="modSp">
        <pc:chgData name="Nick Smith" userId="S::nick.smith@neso.energy::3e9c3b50-9271-4795-bb2e-6e49460c52cb" providerId="AD" clId="Web-{A6356315-FB6A-C2A4-2113-4E61B821A751}" dt="2026-03-03T14:39:49.265" v="3" actId="14100"/>
        <pc:sldMkLst>
          <pc:docMk/>
          <pc:sldMk cId="2627277250" sldId="368"/>
        </pc:sldMkLst>
      </pc:sldChg>
      <pc:sldChg chg="modSp">
        <pc:chgData name="Nick Smith" userId="S::nick.smith@neso.energy::3e9c3b50-9271-4795-bb2e-6e49460c52cb" providerId="AD" clId="Web-{A6356315-FB6A-C2A4-2113-4E61B821A751}" dt="2026-03-03T14:44:12.302" v="5" actId="14100"/>
        <pc:sldMkLst>
          <pc:docMk/>
          <pc:sldMk cId="825480293" sldId="370"/>
        </pc:sldMkLst>
      </pc:sldChg>
      <pc:sldChg chg="add">
        <pc:chgData name="Nick Smith" userId="S::nick.smith@neso.energy::3e9c3b50-9271-4795-bb2e-6e49460c52cb" providerId="AD" clId="Web-{A6356315-FB6A-C2A4-2113-4E61B821A751}" dt="2026-03-03T14:38:33.404" v="0"/>
        <pc:sldMkLst>
          <pc:docMk/>
          <pc:sldMk cId="2332189274" sldId="373"/>
        </pc:sldMkLst>
      </pc:sldChg>
    </pc:docChg>
  </pc:docChgLst>
  <pc:docChgLst>
    <pc:chgData name="Gavin Roe-Pearce" userId="17ef55c5-5c4c-46eb-8129-39657cd1db75" providerId="ADAL" clId="{FFFF0789-DD84-4031-B4E2-5F78E8CBB847}"/>
    <pc:docChg chg="undo custSel delSld modSld modMainMaster">
      <pc:chgData name="Gavin Roe-Pearce" userId="17ef55c5-5c4c-46eb-8129-39657cd1db75" providerId="ADAL" clId="{FFFF0789-DD84-4031-B4E2-5F78E8CBB847}" dt="2026-03-06T09:20:42.755" v="397" actId="20577"/>
      <pc:docMkLst>
        <pc:docMk/>
      </pc:docMkLst>
      <pc:sldChg chg="addSp modSp">
        <pc:chgData name="Gavin Roe-Pearce" userId="17ef55c5-5c4c-46eb-8129-39657cd1db75" providerId="ADAL" clId="{FFFF0789-DD84-4031-B4E2-5F78E8CBB847}" dt="2026-03-05T09:37:03.265" v="229"/>
        <pc:sldMkLst>
          <pc:docMk/>
          <pc:sldMk cId="4198425340" sldId="269"/>
        </pc:sldMkLst>
        <pc:spChg chg="add mod">
          <ac:chgData name="Gavin Roe-Pearce" userId="17ef55c5-5c4c-46eb-8129-39657cd1db75" providerId="ADAL" clId="{FFFF0789-DD84-4031-B4E2-5F78E8CBB847}" dt="2026-03-05T09:37:03.265" v="229"/>
          <ac:spMkLst>
            <pc:docMk/>
            <pc:sldMk cId="4198425340" sldId="269"/>
            <ac:spMk id="2" creationId="{15A19017-AB1A-A338-6585-C2FF36435FE8}"/>
          </ac:spMkLst>
        </pc:spChg>
      </pc:sldChg>
      <pc:sldChg chg="addSp modSp">
        <pc:chgData name="Gavin Roe-Pearce" userId="17ef55c5-5c4c-46eb-8129-39657cd1db75" providerId="ADAL" clId="{FFFF0789-DD84-4031-B4E2-5F78E8CBB847}" dt="2026-03-05T09:38:12.866" v="240"/>
        <pc:sldMkLst>
          <pc:docMk/>
          <pc:sldMk cId="2424087312" sldId="287"/>
        </pc:sldMkLst>
        <pc:spChg chg="add mod">
          <ac:chgData name="Gavin Roe-Pearce" userId="17ef55c5-5c4c-46eb-8129-39657cd1db75" providerId="ADAL" clId="{FFFF0789-DD84-4031-B4E2-5F78E8CBB847}" dt="2026-03-05T09:38:12.866" v="240"/>
          <ac:spMkLst>
            <pc:docMk/>
            <pc:sldMk cId="2424087312" sldId="287"/>
            <ac:spMk id="4" creationId="{FFA8FBEC-0D41-D7D5-28DD-1989CFB67179}"/>
          </ac:spMkLst>
        </pc:spChg>
      </pc:sldChg>
      <pc:sldChg chg="addSp delSp modSp mod">
        <pc:chgData name="Gavin Roe-Pearce" userId="17ef55c5-5c4c-46eb-8129-39657cd1db75" providerId="ADAL" clId="{FFFF0789-DD84-4031-B4E2-5F78E8CBB847}" dt="2026-03-05T10:11:56.329" v="306"/>
        <pc:sldMkLst>
          <pc:docMk/>
          <pc:sldMk cId="3605464168" sldId="299"/>
        </pc:sldMkLst>
        <pc:spChg chg="add del mod">
          <ac:chgData name="Gavin Roe-Pearce" userId="17ef55c5-5c4c-46eb-8129-39657cd1db75" providerId="ADAL" clId="{FFFF0789-DD84-4031-B4E2-5F78E8CBB847}" dt="2026-03-05T09:38:03.489" v="238" actId="478"/>
          <ac:spMkLst>
            <pc:docMk/>
            <pc:sldMk cId="3605464168" sldId="299"/>
            <ac:spMk id="2" creationId="{1E50BC9B-599E-3EEA-7704-35C216680644}"/>
          </ac:spMkLst>
        </pc:spChg>
        <pc:spChg chg="mod">
          <ac:chgData name="Gavin Roe-Pearce" userId="17ef55c5-5c4c-46eb-8129-39657cd1db75" providerId="ADAL" clId="{FFFF0789-DD84-4031-B4E2-5F78E8CBB847}" dt="2026-03-04T16:36:23.235" v="121" actId="20577"/>
          <ac:spMkLst>
            <pc:docMk/>
            <pc:sldMk cId="3605464168" sldId="299"/>
            <ac:spMk id="3" creationId="{005D0642-E7BF-CD68-4368-CE106E2B8FC1}"/>
          </ac:spMkLst>
        </pc:spChg>
        <pc:spChg chg="add mod">
          <ac:chgData name="Gavin Roe-Pearce" userId="17ef55c5-5c4c-46eb-8129-39657cd1db75" providerId="ADAL" clId="{FFFF0789-DD84-4031-B4E2-5F78E8CBB847}" dt="2026-03-05T10:11:56.329" v="306"/>
          <ac:spMkLst>
            <pc:docMk/>
            <pc:sldMk cId="3605464168" sldId="299"/>
            <ac:spMk id="4" creationId="{07073995-102B-4C16-D268-CA0E0D04F349}"/>
          </ac:spMkLst>
        </pc:spChg>
      </pc:sldChg>
      <pc:sldChg chg="addSp modSp mod">
        <pc:chgData name="Gavin Roe-Pearce" userId="17ef55c5-5c4c-46eb-8129-39657cd1db75" providerId="ADAL" clId="{FFFF0789-DD84-4031-B4E2-5F78E8CBB847}" dt="2026-03-06T09:20:42.755" v="397" actId="20577"/>
        <pc:sldMkLst>
          <pc:docMk/>
          <pc:sldMk cId="2981301011" sldId="329"/>
        </pc:sldMkLst>
        <pc:spChg chg="add mod">
          <ac:chgData name="Gavin Roe-Pearce" userId="17ef55c5-5c4c-46eb-8129-39657cd1db75" providerId="ADAL" clId="{FFFF0789-DD84-4031-B4E2-5F78E8CBB847}" dt="2026-03-05T09:38:55.488" v="245" actId="207"/>
          <ac:spMkLst>
            <pc:docMk/>
            <pc:sldMk cId="2981301011" sldId="329"/>
            <ac:spMk id="2" creationId="{08E80AEE-1453-F9B7-0B88-88D624B9902E}"/>
          </ac:spMkLst>
        </pc:spChg>
        <pc:spChg chg="mod">
          <ac:chgData name="Gavin Roe-Pearce" userId="17ef55c5-5c4c-46eb-8129-39657cd1db75" providerId="ADAL" clId="{FFFF0789-DD84-4031-B4E2-5F78E8CBB847}" dt="2026-03-06T09:20:42.755" v="397" actId="20577"/>
          <ac:spMkLst>
            <pc:docMk/>
            <pc:sldMk cId="2981301011" sldId="329"/>
            <ac:spMk id="8" creationId="{51960CFA-D758-949F-D48F-7379EB6E3BBC}"/>
          </ac:spMkLst>
        </pc:spChg>
      </pc:sldChg>
      <pc:sldChg chg="addSp modSp mod">
        <pc:chgData name="Gavin Roe-Pearce" userId="17ef55c5-5c4c-46eb-8129-39657cd1db75" providerId="ADAL" clId="{FFFF0789-DD84-4031-B4E2-5F78E8CBB847}" dt="2026-03-05T18:32:17.073" v="386" actId="255"/>
        <pc:sldMkLst>
          <pc:docMk/>
          <pc:sldMk cId="3596730289" sldId="340"/>
        </pc:sldMkLst>
        <pc:spChg chg="mod">
          <ac:chgData name="Gavin Roe-Pearce" userId="17ef55c5-5c4c-46eb-8129-39657cd1db75" providerId="ADAL" clId="{FFFF0789-DD84-4031-B4E2-5F78E8CBB847}" dt="2026-03-05T18:32:17.073" v="386" actId="255"/>
          <ac:spMkLst>
            <pc:docMk/>
            <pc:sldMk cId="3596730289" sldId="340"/>
            <ac:spMk id="3" creationId="{984203A6-F804-4043-6B10-7EAA2FE96F15}"/>
          </ac:spMkLst>
        </pc:spChg>
        <pc:spChg chg="add mod">
          <ac:chgData name="Gavin Roe-Pearce" userId="17ef55c5-5c4c-46eb-8129-39657cd1db75" providerId="ADAL" clId="{FFFF0789-DD84-4031-B4E2-5F78E8CBB847}" dt="2026-03-05T09:39:05.200" v="246"/>
          <ac:spMkLst>
            <pc:docMk/>
            <pc:sldMk cId="3596730289" sldId="340"/>
            <ac:spMk id="4" creationId="{D8C35EA8-85B5-4ABB-833B-460B2F3548E5}"/>
          </ac:spMkLst>
        </pc:spChg>
      </pc:sldChg>
      <pc:sldChg chg="addSp modSp mod">
        <pc:chgData name="Gavin Roe-Pearce" userId="17ef55c5-5c4c-46eb-8129-39657cd1db75" providerId="ADAL" clId="{FFFF0789-DD84-4031-B4E2-5F78E8CBB847}" dt="2026-03-05T18:30:18.508" v="367" actId="27636"/>
        <pc:sldMkLst>
          <pc:docMk/>
          <pc:sldMk cId="1856850536" sldId="342"/>
        </pc:sldMkLst>
        <pc:spChg chg="mod">
          <ac:chgData name="Gavin Roe-Pearce" userId="17ef55c5-5c4c-46eb-8129-39657cd1db75" providerId="ADAL" clId="{FFFF0789-DD84-4031-B4E2-5F78E8CBB847}" dt="2026-03-05T18:30:18.508" v="367" actId="27636"/>
          <ac:spMkLst>
            <pc:docMk/>
            <pc:sldMk cId="1856850536" sldId="342"/>
            <ac:spMk id="3" creationId="{0FC4318A-6F53-EC37-F234-4C11DC0AEF7C}"/>
          </ac:spMkLst>
        </pc:spChg>
        <pc:spChg chg="add mod">
          <ac:chgData name="Gavin Roe-Pearce" userId="17ef55c5-5c4c-46eb-8129-39657cd1db75" providerId="ADAL" clId="{FFFF0789-DD84-4031-B4E2-5F78E8CBB847}" dt="2026-03-05T09:39:10.148" v="247"/>
          <ac:spMkLst>
            <pc:docMk/>
            <pc:sldMk cId="1856850536" sldId="342"/>
            <ac:spMk id="4" creationId="{ADA52D55-9B08-F533-6334-F28398491A9C}"/>
          </ac:spMkLst>
        </pc:spChg>
      </pc:sldChg>
      <pc:sldChg chg="addSp modSp mod">
        <pc:chgData name="Gavin Roe-Pearce" userId="17ef55c5-5c4c-46eb-8129-39657cd1db75" providerId="ADAL" clId="{FFFF0789-DD84-4031-B4E2-5F78E8CBB847}" dt="2026-03-05T18:30:47.454" v="372" actId="255"/>
        <pc:sldMkLst>
          <pc:docMk/>
          <pc:sldMk cId="800943326" sldId="343"/>
        </pc:sldMkLst>
        <pc:spChg chg="mod">
          <ac:chgData name="Gavin Roe-Pearce" userId="17ef55c5-5c4c-46eb-8129-39657cd1db75" providerId="ADAL" clId="{FFFF0789-DD84-4031-B4E2-5F78E8CBB847}" dt="2026-03-05T18:30:47.454" v="372" actId="255"/>
          <ac:spMkLst>
            <pc:docMk/>
            <pc:sldMk cId="800943326" sldId="343"/>
            <ac:spMk id="3" creationId="{AD985BD4-BAEB-1771-4556-B35B8CCA8BC1}"/>
          </ac:spMkLst>
        </pc:spChg>
        <pc:spChg chg="add mod">
          <ac:chgData name="Gavin Roe-Pearce" userId="17ef55c5-5c4c-46eb-8129-39657cd1db75" providerId="ADAL" clId="{FFFF0789-DD84-4031-B4E2-5F78E8CBB847}" dt="2026-03-05T09:39:12.456" v="248"/>
          <ac:spMkLst>
            <pc:docMk/>
            <pc:sldMk cId="800943326" sldId="343"/>
            <ac:spMk id="4" creationId="{C8CD647E-559F-A521-60DD-3F977EA66C13}"/>
          </ac:spMkLst>
        </pc:spChg>
      </pc:sldChg>
      <pc:sldChg chg="addSp modSp mod">
        <pc:chgData name="Gavin Roe-Pearce" userId="17ef55c5-5c4c-46eb-8129-39657cd1db75" providerId="ADAL" clId="{FFFF0789-DD84-4031-B4E2-5F78E8CBB847}" dt="2026-03-05T18:31:52.094" v="384" actId="255"/>
        <pc:sldMkLst>
          <pc:docMk/>
          <pc:sldMk cId="3153783598" sldId="346"/>
        </pc:sldMkLst>
        <pc:spChg chg="mod">
          <ac:chgData name="Gavin Roe-Pearce" userId="17ef55c5-5c4c-46eb-8129-39657cd1db75" providerId="ADAL" clId="{FFFF0789-DD84-4031-B4E2-5F78E8CBB847}" dt="2026-03-05T18:31:52.094" v="384" actId="255"/>
          <ac:spMkLst>
            <pc:docMk/>
            <pc:sldMk cId="3153783598" sldId="346"/>
            <ac:spMk id="3" creationId="{0AFF77D4-CFB0-1533-768A-0BBCB71C5017}"/>
          </ac:spMkLst>
        </pc:spChg>
        <pc:spChg chg="add mod">
          <ac:chgData name="Gavin Roe-Pearce" userId="17ef55c5-5c4c-46eb-8129-39657cd1db75" providerId="ADAL" clId="{FFFF0789-DD84-4031-B4E2-5F78E8CBB847}" dt="2026-03-05T09:39:16.306" v="249"/>
          <ac:spMkLst>
            <pc:docMk/>
            <pc:sldMk cId="3153783598" sldId="346"/>
            <ac:spMk id="4" creationId="{580A0AF5-355D-4AD3-B513-164BBFDAD374}"/>
          </ac:spMkLst>
        </pc:spChg>
      </pc:sldChg>
      <pc:sldChg chg="addSp modSp mod">
        <pc:chgData name="Gavin Roe-Pearce" userId="17ef55c5-5c4c-46eb-8129-39657cd1db75" providerId="ADAL" clId="{FFFF0789-DD84-4031-B4E2-5F78E8CBB847}" dt="2026-03-05T18:32:05.030" v="385" actId="255"/>
        <pc:sldMkLst>
          <pc:docMk/>
          <pc:sldMk cId="1303007122" sldId="347"/>
        </pc:sldMkLst>
        <pc:spChg chg="mod">
          <ac:chgData name="Gavin Roe-Pearce" userId="17ef55c5-5c4c-46eb-8129-39657cd1db75" providerId="ADAL" clId="{FFFF0789-DD84-4031-B4E2-5F78E8CBB847}" dt="2026-03-05T18:32:05.030" v="385" actId="255"/>
          <ac:spMkLst>
            <pc:docMk/>
            <pc:sldMk cId="1303007122" sldId="347"/>
            <ac:spMk id="3" creationId="{0F4B00B1-2B63-9B27-C458-4633C9313F68}"/>
          </ac:spMkLst>
        </pc:spChg>
        <pc:spChg chg="add mod">
          <ac:chgData name="Gavin Roe-Pearce" userId="17ef55c5-5c4c-46eb-8129-39657cd1db75" providerId="ADAL" clId="{FFFF0789-DD84-4031-B4E2-5F78E8CBB847}" dt="2026-03-05T09:39:19.364" v="250"/>
          <ac:spMkLst>
            <pc:docMk/>
            <pc:sldMk cId="1303007122" sldId="347"/>
            <ac:spMk id="4" creationId="{7B00E9C1-8D30-51A9-AEE4-4464EFBC2DE0}"/>
          </ac:spMkLst>
        </pc:spChg>
      </pc:sldChg>
      <pc:sldChg chg="addSp modSp">
        <pc:chgData name="Gavin Roe-Pearce" userId="17ef55c5-5c4c-46eb-8129-39657cd1db75" providerId="ADAL" clId="{FFFF0789-DD84-4031-B4E2-5F78E8CBB847}" dt="2026-03-05T10:12:08.212" v="308"/>
        <pc:sldMkLst>
          <pc:docMk/>
          <pc:sldMk cId="2630374550" sldId="348"/>
        </pc:sldMkLst>
        <pc:spChg chg="add mod">
          <ac:chgData name="Gavin Roe-Pearce" userId="17ef55c5-5c4c-46eb-8129-39657cd1db75" providerId="ADAL" clId="{FFFF0789-DD84-4031-B4E2-5F78E8CBB847}" dt="2026-03-05T10:12:08.212" v="308"/>
          <ac:spMkLst>
            <pc:docMk/>
            <pc:sldMk cId="2630374550" sldId="348"/>
            <ac:spMk id="2" creationId="{631D5399-8F67-9C4B-861D-39E05B2C6338}"/>
          </ac:spMkLst>
        </pc:spChg>
      </pc:sldChg>
      <pc:sldChg chg="addSp delSp modSp mod">
        <pc:chgData name="Gavin Roe-Pearce" userId="17ef55c5-5c4c-46eb-8129-39657cd1db75" providerId="ADAL" clId="{FFFF0789-DD84-4031-B4E2-5F78E8CBB847}" dt="2026-03-05T10:12:02.926" v="307"/>
        <pc:sldMkLst>
          <pc:docMk/>
          <pc:sldMk cId="1465880742" sldId="353"/>
        </pc:sldMkLst>
        <pc:spChg chg="add del mod">
          <ac:chgData name="Gavin Roe-Pearce" userId="17ef55c5-5c4c-46eb-8129-39657cd1db75" providerId="ADAL" clId="{FFFF0789-DD84-4031-B4E2-5F78E8CBB847}" dt="2026-03-05T09:38:00.398" v="237" actId="478"/>
          <ac:spMkLst>
            <pc:docMk/>
            <pc:sldMk cId="1465880742" sldId="353"/>
            <ac:spMk id="4" creationId="{9B9B794A-74F4-6762-4856-2F7CEFFDF45C}"/>
          </ac:spMkLst>
        </pc:spChg>
        <pc:spChg chg="add mod">
          <ac:chgData name="Gavin Roe-Pearce" userId="17ef55c5-5c4c-46eb-8129-39657cd1db75" providerId="ADAL" clId="{FFFF0789-DD84-4031-B4E2-5F78E8CBB847}" dt="2026-03-05T10:12:02.926" v="307"/>
          <ac:spMkLst>
            <pc:docMk/>
            <pc:sldMk cId="1465880742" sldId="353"/>
            <ac:spMk id="6" creationId="{E271EC54-0006-20A6-2616-729BFC3AD37B}"/>
          </ac:spMkLst>
        </pc:spChg>
      </pc:sldChg>
      <pc:sldChg chg="addSp delSp modSp mod">
        <pc:chgData name="Gavin Roe-Pearce" userId="17ef55c5-5c4c-46eb-8129-39657cd1db75" providerId="ADAL" clId="{FFFF0789-DD84-4031-B4E2-5F78E8CBB847}" dt="2026-03-05T10:11:52.342" v="305"/>
        <pc:sldMkLst>
          <pc:docMk/>
          <pc:sldMk cId="2942620178" sldId="365"/>
        </pc:sldMkLst>
        <pc:spChg chg="mod">
          <ac:chgData name="Gavin Roe-Pearce" userId="17ef55c5-5c4c-46eb-8129-39657cd1db75" providerId="ADAL" clId="{FFFF0789-DD84-4031-B4E2-5F78E8CBB847}" dt="2026-03-05T09:57:23.410" v="303" actId="403"/>
          <ac:spMkLst>
            <pc:docMk/>
            <pc:sldMk cId="2942620178" sldId="365"/>
            <ac:spMk id="3" creationId="{163CEB2D-92D5-B275-4D32-EDABFCA919AD}"/>
          </ac:spMkLst>
        </pc:spChg>
        <pc:spChg chg="add del mod">
          <ac:chgData name="Gavin Roe-Pearce" userId="17ef55c5-5c4c-46eb-8129-39657cd1db75" providerId="ADAL" clId="{FFFF0789-DD84-4031-B4E2-5F78E8CBB847}" dt="2026-03-05T09:38:06.781" v="239" actId="478"/>
          <ac:spMkLst>
            <pc:docMk/>
            <pc:sldMk cId="2942620178" sldId="365"/>
            <ac:spMk id="4" creationId="{2065F1BA-A298-B6FD-6760-3A50116DAC79}"/>
          </ac:spMkLst>
        </pc:spChg>
        <pc:spChg chg="add mod">
          <ac:chgData name="Gavin Roe-Pearce" userId="17ef55c5-5c4c-46eb-8129-39657cd1db75" providerId="ADAL" clId="{FFFF0789-DD84-4031-B4E2-5F78E8CBB847}" dt="2026-03-05T10:11:52.342" v="305"/>
          <ac:spMkLst>
            <pc:docMk/>
            <pc:sldMk cId="2942620178" sldId="365"/>
            <ac:spMk id="5" creationId="{6574D851-5302-9A3A-5547-05F035844EA7}"/>
          </ac:spMkLst>
        </pc:spChg>
      </pc:sldChg>
      <pc:sldChg chg="addSp delSp modSp mod">
        <pc:chgData name="Gavin Roe-Pearce" userId="17ef55c5-5c4c-46eb-8129-39657cd1db75" providerId="ADAL" clId="{FFFF0789-DD84-4031-B4E2-5F78E8CBB847}" dt="2026-03-05T09:36:41.730" v="227" actId="207"/>
        <pc:sldMkLst>
          <pc:docMk/>
          <pc:sldMk cId="223043884" sldId="366"/>
        </pc:sldMkLst>
        <pc:spChg chg="add del">
          <ac:chgData name="Gavin Roe-Pearce" userId="17ef55c5-5c4c-46eb-8129-39657cd1db75" providerId="ADAL" clId="{FFFF0789-DD84-4031-B4E2-5F78E8CBB847}" dt="2026-03-05T09:35:54.561" v="213" actId="11529"/>
          <ac:spMkLst>
            <pc:docMk/>
            <pc:sldMk cId="223043884" sldId="366"/>
            <ac:spMk id="10" creationId="{628AB921-F1CA-4B58-967D-ED72AE805240}"/>
          </ac:spMkLst>
        </pc:spChg>
        <pc:spChg chg="add mod">
          <ac:chgData name="Gavin Roe-Pearce" userId="17ef55c5-5c4c-46eb-8129-39657cd1db75" providerId="ADAL" clId="{FFFF0789-DD84-4031-B4E2-5F78E8CBB847}" dt="2026-03-05T09:36:41.730" v="227" actId="207"/>
          <ac:spMkLst>
            <pc:docMk/>
            <pc:sldMk cId="223043884" sldId="366"/>
            <ac:spMk id="15" creationId="{5D3239B6-5A25-5CF0-7898-1F63BB8366A1}"/>
          </ac:spMkLst>
        </pc:spChg>
      </pc:sldChg>
      <pc:sldChg chg="addSp modSp">
        <pc:chgData name="Gavin Roe-Pearce" userId="17ef55c5-5c4c-46eb-8129-39657cd1db75" providerId="ADAL" clId="{FFFF0789-DD84-4031-B4E2-5F78E8CBB847}" dt="2026-03-05T09:36:49.383" v="228"/>
        <pc:sldMkLst>
          <pc:docMk/>
          <pc:sldMk cId="1197002428" sldId="367"/>
        </pc:sldMkLst>
        <pc:spChg chg="add mod">
          <ac:chgData name="Gavin Roe-Pearce" userId="17ef55c5-5c4c-46eb-8129-39657cd1db75" providerId="ADAL" clId="{FFFF0789-DD84-4031-B4E2-5F78E8CBB847}" dt="2026-03-05T09:36:49.383" v="228"/>
          <ac:spMkLst>
            <pc:docMk/>
            <pc:sldMk cId="1197002428" sldId="367"/>
            <ac:spMk id="4" creationId="{435019E4-741B-4576-4C35-F877ABFECB1A}"/>
          </ac:spMkLst>
        </pc:spChg>
      </pc:sldChg>
      <pc:sldChg chg="addSp modSp">
        <pc:chgData name="Gavin Roe-Pearce" userId="17ef55c5-5c4c-46eb-8129-39657cd1db75" providerId="ADAL" clId="{FFFF0789-DD84-4031-B4E2-5F78E8CBB847}" dt="2026-03-05T09:37:15.304" v="232"/>
        <pc:sldMkLst>
          <pc:docMk/>
          <pc:sldMk cId="2627277250" sldId="368"/>
        </pc:sldMkLst>
        <pc:spChg chg="add mod">
          <ac:chgData name="Gavin Roe-Pearce" userId="17ef55c5-5c4c-46eb-8129-39657cd1db75" providerId="ADAL" clId="{FFFF0789-DD84-4031-B4E2-5F78E8CBB847}" dt="2026-03-05T09:37:15.304" v="232"/>
          <ac:spMkLst>
            <pc:docMk/>
            <pc:sldMk cId="2627277250" sldId="368"/>
            <ac:spMk id="2" creationId="{20AEE6B2-6456-0989-F90C-8F31EDA41399}"/>
          </ac:spMkLst>
        </pc:spChg>
      </pc:sldChg>
      <pc:sldChg chg="addSp modSp mod">
        <pc:chgData name="Gavin Roe-Pearce" userId="17ef55c5-5c4c-46eb-8129-39657cd1db75" providerId="ADAL" clId="{FFFF0789-DD84-4031-B4E2-5F78E8CBB847}" dt="2026-03-05T09:51:06.322" v="289" actId="20577"/>
        <pc:sldMkLst>
          <pc:docMk/>
          <pc:sldMk cId="2430398786" sldId="369"/>
        </pc:sldMkLst>
        <pc:spChg chg="add mod">
          <ac:chgData name="Gavin Roe-Pearce" userId="17ef55c5-5c4c-46eb-8129-39657cd1db75" providerId="ADAL" clId="{FFFF0789-DD84-4031-B4E2-5F78E8CBB847}" dt="2026-03-05T09:37:19.521" v="233"/>
          <ac:spMkLst>
            <pc:docMk/>
            <pc:sldMk cId="2430398786" sldId="369"/>
            <ac:spMk id="2" creationId="{626CE250-A4FC-D531-A4D8-FB2476F0A12F}"/>
          </ac:spMkLst>
        </pc:spChg>
        <pc:spChg chg="mod">
          <ac:chgData name="Gavin Roe-Pearce" userId="17ef55c5-5c4c-46eb-8129-39657cd1db75" providerId="ADAL" clId="{FFFF0789-DD84-4031-B4E2-5F78E8CBB847}" dt="2026-03-05T09:51:06.322" v="289" actId="20577"/>
          <ac:spMkLst>
            <pc:docMk/>
            <pc:sldMk cId="2430398786" sldId="369"/>
            <ac:spMk id="5" creationId="{434C2AA0-48A2-D0B8-C231-3D8FDA6E3073}"/>
          </ac:spMkLst>
        </pc:spChg>
      </pc:sldChg>
      <pc:sldChg chg="addSp modSp">
        <pc:chgData name="Gavin Roe-Pearce" userId="17ef55c5-5c4c-46eb-8129-39657cd1db75" providerId="ADAL" clId="{FFFF0789-DD84-4031-B4E2-5F78E8CBB847}" dt="2026-03-05T09:37:11.043" v="231"/>
        <pc:sldMkLst>
          <pc:docMk/>
          <pc:sldMk cId="825480293" sldId="370"/>
        </pc:sldMkLst>
        <pc:spChg chg="add mod">
          <ac:chgData name="Gavin Roe-Pearce" userId="17ef55c5-5c4c-46eb-8129-39657cd1db75" providerId="ADAL" clId="{FFFF0789-DD84-4031-B4E2-5F78E8CBB847}" dt="2026-03-05T09:37:11.043" v="231"/>
          <ac:spMkLst>
            <pc:docMk/>
            <pc:sldMk cId="825480293" sldId="370"/>
            <ac:spMk id="2" creationId="{FA16A8AE-4EB4-FA93-74C7-EAEADFCDABB5}"/>
          </ac:spMkLst>
        </pc:spChg>
      </pc:sldChg>
      <pc:sldChg chg="addSp modSp">
        <pc:chgData name="Gavin Roe-Pearce" userId="17ef55c5-5c4c-46eb-8129-39657cd1db75" providerId="ADAL" clId="{FFFF0789-DD84-4031-B4E2-5F78E8CBB847}" dt="2026-03-05T09:37:08.249" v="230"/>
        <pc:sldMkLst>
          <pc:docMk/>
          <pc:sldMk cId="2332189274" sldId="373"/>
        </pc:sldMkLst>
        <pc:spChg chg="add mod">
          <ac:chgData name="Gavin Roe-Pearce" userId="17ef55c5-5c4c-46eb-8129-39657cd1db75" providerId="ADAL" clId="{FFFF0789-DD84-4031-B4E2-5F78E8CBB847}" dt="2026-03-05T09:37:08.249" v="230"/>
          <ac:spMkLst>
            <pc:docMk/>
            <pc:sldMk cId="2332189274" sldId="373"/>
            <ac:spMk id="2" creationId="{823F44C1-0C60-8CDC-E39D-9281B560F793}"/>
          </ac:spMkLst>
        </pc:spChg>
      </pc:sldChg>
      <pc:sldChg chg="addSp modSp mod">
        <pc:chgData name="Gavin Roe-Pearce" userId="17ef55c5-5c4c-46eb-8129-39657cd1db75" providerId="ADAL" clId="{FFFF0789-DD84-4031-B4E2-5F78E8CBB847}" dt="2026-03-05T10:07:37.435" v="304"/>
        <pc:sldMkLst>
          <pc:docMk/>
          <pc:sldMk cId="1677255492" sldId="2147482596"/>
        </pc:sldMkLst>
        <pc:spChg chg="mod">
          <ac:chgData name="Gavin Roe-Pearce" userId="17ef55c5-5c4c-46eb-8129-39657cd1db75" providerId="ADAL" clId="{FFFF0789-DD84-4031-B4E2-5F78E8CBB847}" dt="2026-03-05T09:34:29.470" v="208" actId="20577"/>
          <ac:spMkLst>
            <pc:docMk/>
            <pc:sldMk cId="1677255492" sldId="2147482596"/>
            <ac:spMk id="2" creationId="{401FCFD8-3011-CA95-00E1-678791F50433}"/>
          </ac:spMkLst>
        </pc:spChg>
        <pc:spChg chg="add mod">
          <ac:chgData name="Gavin Roe-Pearce" userId="17ef55c5-5c4c-46eb-8129-39657cd1db75" providerId="ADAL" clId="{FFFF0789-DD84-4031-B4E2-5F78E8CBB847}" dt="2026-03-05T10:07:37.435" v="304"/>
          <ac:spMkLst>
            <pc:docMk/>
            <pc:sldMk cId="1677255492" sldId="2147482596"/>
            <ac:spMk id="4" creationId="{75D3CE70-E42B-8B73-F88C-F78BF438EEA0}"/>
          </ac:spMkLst>
        </pc:spChg>
        <pc:spChg chg="mod">
          <ac:chgData name="Gavin Roe-Pearce" userId="17ef55c5-5c4c-46eb-8129-39657cd1db75" providerId="ADAL" clId="{FFFF0789-DD84-4031-B4E2-5F78E8CBB847}" dt="2026-03-05T09:34:14.416" v="186" actId="14100"/>
          <ac:spMkLst>
            <pc:docMk/>
            <pc:sldMk cId="1677255492" sldId="2147482596"/>
            <ac:spMk id="6" creationId="{D8D4295F-20F0-BBE1-BE38-1619A1822ED0}"/>
          </ac:spMkLst>
        </pc:spChg>
      </pc:sldChg>
      <pc:sldChg chg="modSp mod">
        <pc:chgData name="Gavin Roe-Pearce" userId="17ef55c5-5c4c-46eb-8129-39657cd1db75" providerId="ADAL" clId="{FFFF0789-DD84-4031-B4E2-5F78E8CBB847}" dt="2026-03-04T16:19:03" v="72" actId="20577"/>
        <pc:sldMkLst>
          <pc:docMk/>
          <pc:sldMk cId="2935739863" sldId="2147482597"/>
        </pc:sldMkLst>
        <pc:spChg chg="mod">
          <ac:chgData name="Gavin Roe-Pearce" userId="17ef55c5-5c4c-46eb-8129-39657cd1db75" providerId="ADAL" clId="{FFFF0789-DD84-4031-B4E2-5F78E8CBB847}" dt="2026-03-04T16:19:03" v="72" actId="20577"/>
          <ac:spMkLst>
            <pc:docMk/>
            <pc:sldMk cId="2935739863" sldId="2147482597"/>
            <ac:spMk id="4" creationId="{26E4D9A5-4667-BDE9-F71D-C6812D976361}"/>
          </ac:spMkLst>
        </pc:spChg>
      </pc:sldChg>
      <pc:sldMasterChg chg="modSldLayout">
        <pc:chgData name="Gavin Roe-Pearce" userId="17ef55c5-5c4c-46eb-8129-39657cd1db75" providerId="ADAL" clId="{FFFF0789-DD84-4031-B4E2-5F78E8CBB847}" dt="2026-03-05T09:35:15.616" v="211" actId="208"/>
        <pc:sldMasterMkLst>
          <pc:docMk/>
          <pc:sldMasterMk cId="1575802347" sldId="2147483660"/>
        </pc:sldMasterMkLst>
        <pc:sldLayoutChg chg="addSp modSp mod">
          <pc:chgData name="Gavin Roe-Pearce" userId="17ef55c5-5c4c-46eb-8129-39657cd1db75" providerId="ADAL" clId="{FFFF0789-DD84-4031-B4E2-5F78E8CBB847}" dt="2026-03-05T09:35:15.616" v="211" actId="208"/>
          <pc:sldLayoutMkLst>
            <pc:docMk/>
            <pc:sldMasterMk cId="1575802347" sldId="2147483660"/>
            <pc:sldLayoutMk cId="2025705119" sldId="2147483665"/>
          </pc:sldLayoutMkLst>
          <pc:spChg chg="add mod">
            <ac:chgData name="Gavin Roe-Pearce" userId="17ef55c5-5c4c-46eb-8129-39657cd1db75" providerId="ADAL" clId="{FFFF0789-DD84-4031-B4E2-5F78E8CBB847}" dt="2026-03-05T09:35:15.616" v="211" actId="208"/>
            <ac:spMkLst>
              <pc:docMk/>
              <pc:sldMasterMk cId="1575802347" sldId="2147483660"/>
              <pc:sldLayoutMk cId="2025705119" sldId="2147483665"/>
              <ac:spMk id="4" creationId="{A448E242-1335-ADC0-4F3E-3E997A0F6355}"/>
            </ac:spMkLst>
          </pc:spChg>
        </pc:sldLayoutChg>
      </pc:sldMasterChg>
    </pc:docChg>
  </pc:docChgLst>
  <pc:docChgLst>
    <pc:chgData name="Nick Smith" userId="S::nick.smith@neso.energy::3e9c3b50-9271-4795-bb2e-6e49460c52cb" providerId="AD" clId="Web-{8B30692C-6CC1-A734-FB91-9D1933CA2002}"/>
    <pc:docChg chg="modSld">
      <pc:chgData name="Nick Smith" userId="S::nick.smith@neso.energy::3e9c3b50-9271-4795-bb2e-6e49460c52cb" providerId="AD" clId="Web-{8B30692C-6CC1-A734-FB91-9D1933CA2002}" dt="2026-03-04T12:38:21.092" v="37" actId="14100"/>
      <pc:docMkLst>
        <pc:docMk/>
      </pc:docMkLst>
      <pc:sldChg chg="modSp">
        <pc:chgData name="Nick Smith" userId="S::nick.smith@neso.energy::3e9c3b50-9271-4795-bb2e-6e49460c52cb" providerId="AD" clId="Web-{8B30692C-6CC1-A734-FB91-9D1933CA2002}" dt="2026-03-04T12:38:21.092" v="37" actId="14100"/>
        <pc:sldMkLst>
          <pc:docMk/>
          <pc:sldMk cId="2627277250" sldId="368"/>
        </pc:sldMkLst>
      </pc:sldChg>
      <pc:sldChg chg="modSp">
        <pc:chgData name="Nick Smith" userId="S::nick.smith@neso.energy::3e9c3b50-9271-4795-bb2e-6e49460c52cb" providerId="AD" clId="Web-{8B30692C-6CC1-A734-FB91-9D1933CA2002}" dt="2026-03-04T12:36:07.262" v="7" actId="20577"/>
        <pc:sldMkLst>
          <pc:docMk/>
          <pc:sldMk cId="2430398786" sldId="369"/>
        </pc:sldMkLst>
      </pc:sldChg>
      <pc:sldChg chg="modSp">
        <pc:chgData name="Nick Smith" userId="S::nick.smith@neso.energy::3e9c3b50-9271-4795-bb2e-6e49460c52cb" providerId="AD" clId="Web-{8B30692C-6CC1-A734-FB91-9D1933CA2002}" dt="2026-03-04T12:37:52.436" v="35" actId="20577"/>
        <pc:sldMkLst>
          <pc:docMk/>
          <pc:sldMk cId="825480293" sldId="370"/>
        </pc:sldMkLst>
        <pc:spChg chg="mod">
          <ac:chgData name="Nick Smith" userId="S::nick.smith@neso.energy::3e9c3b50-9271-4795-bb2e-6e49460c52cb" providerId="AD" clId="Web-{8B30692C-6CC1-A734-FB91-9D1933CA2002}" dt="2026-03-04T12:37:14.560" v="30" actId="14100"/>
          <ac:spMkLst>
            <pc:docMk/>
            <pc:sldMk cId="825480293" sldId="370"/>
            <ac:spMk id="21" creationId="{80D90604-D07A-07C5-F64A-A30338551C65}"/>
          </ac:spMkLst>
        </pc:spChg>
      </pc:sldChg>
    </pc:docChg>
  </pc:docChgLst>
  <pc:docChgLst>
    <pc:chgData name="Ravi Dattani" userId="S::ravi.dattani@neso.energy::5565c894-527c-4b4c-9255-ce4dc2d087b2" providerId="AD" clId="Web-{2BAFAEB5-E5F6-5597-914A-F72D8ADE2ABC}"/>
    <pc:docChg chg="modSld">
      <pc:chgData name="Ravi Dattani" userId="S::ravi.dattani@neso.energy::5565c894-527c-4b4c-9255-ce4dc2d087b2" providerId="AD" clId="Web-{2BAFAEB5-E5F6-5597-914A-F72D8ADE2ABC}" dt="2026-03-04T10:45:14.077" v="1" actId="20577"/>
      <pc:docMkLst>
        <pc:docMk/>
      </pc:docMkLst>
    </pc:docChg>
  </pc:docChgLst>
  <pc:docChgLst>
    <pc:chgData name="Nick Smith" userId="S::nick.smith@neso.energy::3e9c3b50-9271-4795-bb2e-6e49460c52cb" providerId="AD" clId="Web-{C8BF41DC-A900-6A6D-0607-D8F10C83A6AF}"/>
    <pc:docChg chg="modSld">
      <pc:chgData name="Nick Smith" userId="S::nick.smith@neso.energy::3e9c3b50-9271-4795-bb2e-6e49460c52cb" providerId="AD" clId="Web-{C8BF41DC-A900-6A6D-0607-D8F10C83A6AF}" dt="2026-02-20T13:34:59.305" v="416" actId="20577"/>
      <pc:docMkLst>
        <pc:docMk/>
      </pc:docMkLst>
    </pc:docChg>
  </pc:docChgLst>
  <pc:docChgLst>
    <pc:chgData name="Nick Smith" userId="3e9c3b50-9271-4795-bb2e-6e49460c52cb" providerId="ADAL" clId="{680DC1A9-7C82-4CAF-9A8A-860BA4CA5A92}"/>
    <pc:docChg chg="undo custSel modSld">
      <pc:chgData name="Nick Smith" userId="3e9c3b50-9271-4795-bb2e-6e49460c52cb" providerId="ADAL" clId="{680DC1A9-7C82-4CAF-9A8A-860BA4CA5A92}" dt="2026-03-04T16:15:48.630" v="1085" actId="20577"/>
      <pc:docMkLst>
        <pc:docMk/>
      </pc:docMkLst>
      <pc:sldChg chg="modSp mod">
        <pc:chgData name="Nick Smith" userId="3e9c3b50-9271-4795-bb2e-6e49460c52cb" providerId="ADAL" clId="{680DC1A9-7C82-4CAF-9A8A-860BA4CA5A92}" dt="2026-03-04T13:46:24.443" v="909" actId="14734"/>
        <pc:sldMkLst>
          <pc:docMk/>
          <pc:sldMk cId="4198425340" sldId="269"/>
        </pc:sldMkLst>
        <pc:graphicFrameChg chg="modGraphic">
          <ac:chgData name="Nick Smith" userId="3e9c3b50-9271-4795-bb2e-6e49460c52cb" providerId="ADAL" clId="{680DC1A9-7C82-4CAF-9A8A-860BA4CA5A92}" dt="2026-03-04T13:46:24.443" v="909" actId="14734"/>
          <ac:graphicFrameMkLst>
            <pc:docMk/>
            <pc:sldMk cId="4198425340" sldId="269"/>
            <ac:graphicFrameMk id="25" creationId="{D717FB01-DA4D-AF0B-5593-B5D0FADBFEC3}"/>
          </ac:graphicFrameMkLst>
        </pc:graphicFrameChg>
      </pc:sldChg>
      <pc:sldChg chg="modSp mod">
        <pc:chgData name="Nick Smith" userId="3e9c3b50-9271-4795-bb2e-6e49460c52cb" providerId="ADAL" clId="{680DC1A9-7C82-4CAF-9A8A-860BA4CA5A92}" dt="2026-03-04T16:15:48.630" v="1085" actId="20577"/>
        <pc:sldMkLst>
          <pc:docMk/>
          <pc:sldMk cId="2942620178" sldId="365"/>
        </pc:sldMkLst>
        <pc:spChg chg="mod">
          <ac:chgData name="Nick Smith" userId="3e9c3b50-9271-4795-bb2e-6e49460c52cb" providerId="ADAL" clId="{680DC1A9-7C82-4CAF-9A8A-860BA4CA5A92}" dt="2026-03-04T16:15:48.630" v="1085" actId="20577"/>
          <ac:spMkLst>
            <pc:docMk/>
            <pc:sldMk cId="2942620178" sldId="365"/>
            <ac:spMk id="3" creationId="{163CEB2D-92D5-B275-4D32-EDABFCA919AD}"/>
          </ac:spMkLst>
        </pc:spChg>
      </pc:sldChg>
      <pc:sldChg chg="addSp delSp modSp mod">
        <pc:chgData name="Nick Smith" userId="3e9c3b50-9271-4795-bb2e-6e49460c52cb" providerId="ADAL" clId="{680DC1A9-7C82-4CAF-9A8A-860BA4CA5A92}" dt="2026-03-04T13:52:25.990" v="1040" actId="113"/>
        <pc:sldMkLst>
          <pc:docMk/>
          <pc:sldMk cId="223043884" sldId="366"/>
        </pc:sldMkLst>
        <pc:spChg chg="mod ord">
          <ac:chgData name="Nick Smith" userId="3e9c3b50-9271-4795-bb2e-6e49460c52cb" providerId="ADAL" clId="{680DC1A9-7C82-4CAF-9A8A-860BA4CA5A92}" dt="2026-03-04T13:49:03.540" v="955" actId="1037"/>
          <ac:spMkLst>
            <pc:docMk/>
            <pc:sldMk cId="223043884" sldId="366"/>
            <ac:spMk id="3" creationId="{0B8DF8EC-B404-C14A-CFDE-D6E2466F52FD}"/>
          </ac:spMkLst>
        </pc:spChg>
        <pc:spChg chg="mod">
          <ac:chgData name="Nick Smith" userId="3e9c3b50-9271-4795-bb2e-6e49460c52cb" providerId="ADAL" clId="{680DC1A9-7C82-4CAF-9A8A-860BA4CA5A92}" dt="2026-03-04T13:49:23.085" v="962" actId="1076"/>
          <ac:spMkLst>
            <pc:docMk/>
            <pc:sldMk cId="223043884" sldId="366"/>
            <ac:spMk id="4" creationId="{D1D05734-3807-8ECC-5DC5-7DD80252BC8D}"/>
          </ac:spMkLst>
        </pc:spChg>
        <pc:spChg chg="mod">
          <ac:chgData name="Nick Smith" userId="3e9c3b50-9271-4795-bb2e-6e49460c52cb" providerId="ADAL" clId="{680DC1A9-7C82-4CAF-9A8A-860BA4CA5A92}" dt="2026-03-04T13:52:24.093" v="1039" actId="113"/>
          <ac:spMkLst>
            <pc:docMk/>
            <pc:sldMk cId="223043884" sldId="366"/>
            <ac:spMk id="5" creationId="{8773BD4D-7F8E-C6C7-2CFA-ABA9DDF9E7D7}"/>
          </ac:spMkLst>
        </pc:spChg>
        <pc:spChg chg="mod">
          <ac:chgData name="Nick Smith" userId="3e9c3b50-9271-4795-bb2e-6e49460c52cb" providerId="ADAL" clId="{680DC1A9-7C82-4CAF-9A8A-860BA4CA5A92}" dt="2026-03-04T13:52:25.990" v="1040" actId="113"/>
          <ac:spMkLst>
            <pc:docMk/>
            <pc:sldMk cId="223043884" sldId="366"/>
            <ac:spMk id="6" creationId="{8BC79530-351D-361A-A0E7-B9D088ED1DE0}"/>
          </ac:spMkLst>
        </pc:spChg>
        <pc:spChg chg="add mod">
          <ac:chgData name="Nick Smith" userId="3e9c3b50-9271-4795-bb2e-6e49460c52cb" providerId="ADAL" clId="{680DC1A9-7C82-4CAF-9A8A-860BA4CA5A92}" dt="2026-03-04T13:49:03.540" v="955" actId="1037"/>
          <ac:spMkLst>
            <pc:docMk/>
            <pc:sldMk cId="223043884" sldId="366"/>
            <ac:spMk id="11" creationId="{B5EFB5E5-DF2B-4EE9-7219-07001CF5E7EB}"/>
          </ac:spMkLst>
        </pc:spChg>
        <pc:spChg chg="mod ord">
          <ac:chgData name="Nick Smith" userId="3e9c3b50-9271-4795-bb2e-6e49460c52cb" providerId="ADAL" clId="{680DC1A9-7C82-4CAF-9A8A-860BA4CA5A92}" dt="2026-03-04T13:49:03.540" v="955" actId="1037"/>
          <ac:spMkLst>
            <pc:docMk/>
            <pc:sldMk cId="223043884" sldId="366"/>
            <ac:spMk id="14" creationId="{5B4A9E17-F55F-AF87-8AEE-C578883ABE95}"/>
          </ac:spMkLst>
        </pc:spChg>
        <pc:spChg chg="add mod">
          <ac:chgData name="Nick Smith" userId="3e9c3b50-9271-4795-bb2e-6e49460c52cb" providerId="ADAL" clId="{680DC1A9-7C82-4CAF-9A8A-860BA4CA5A92}" dt="2026-03-04T13:49:51.821" v="982" actId="20577"/>
          <ac:spMkLst>
            <pc:docMk/>
            <pc:sldMk cId="223043884" sldId="366"/>
            <ac:spMk id="20" creationId="{1E410E7C-6362-347D-9803-719C651E5B0D}"/>
          </ac:spMkLst>
        </pc:spChg>
        <pc:spChg chg="add mod">
          <ac:chgData name="Nick Smith" userId="3e9c3b50-9271-4795-bb2e-6e49460c52cb" providerId="ADAL" clId="{680DC1A9-7C82-4CAF-9A8A-860BA4CA5A92}" dt="2026-03-04T13:49:49.156" v="980" actId="20577"/>
          <ac:spMkLst>
            <pc:docMk/>
            <pc:sldMk cId="223043884" sldId="366"/>
            <ac:spMk id="21" creationId="{63370E05-1C07-4CE1-3E38-72C83073359A}"/>
          </ac:spMkLst>
        </pc:spChg>
        <pc:picChg chg="add mod ord">
          <ac:chgData name="Nick Smith" userId="3e9c3b50-9271-4795-bb2e-6e49460c52cb" providerId="ADAL" clId="{680DC1A9-7C82-4CAF-9A8A-860BA4CA5A92}" dt="2026-03-04T13:52:12.840" v="1038" actId="208"/>
          <ac:picMkLst>
            <pc:docMk/>
            <pc:sldMk cId="223043884" sldId="366"/>
            <ac:picMk id="8" creationId="{72AD0882-A0A7-34CC-18B0-50DB43CC8596}"/>
          </ac:picMkLst>
        </pc:picChg>
        <pc:picChg chg="mod ord">
          <ac:chgData name="Nick Smith" userId="3e9c3b50-9271-4795-bb2e-6e49460c52cb" providerId="ADAL" clId="{680DC1A9-7C82-4CAF-9A8A-860BA4CA5A92}" dt="2026-03-04T13:52:12.840" v="1038" actId="208"/>
          <ac:picMkLst>
            <pc:docMk/>
            <pc:sldMk cId="223043884" sldId="366"/>
            <ac:picMk id="13" creationId="{D7ED8D2B-2B16-9F78-F301-76284386A976}"/>
          </ac:picMkLst>
        </pc:picChg>
        <pc:picChg chg="mod">
          <ac:chgData name="Nick Smith" userId="3e9c3b50-9271-4795-bb2e-6e49460c52cb" providerId="ADAL" clId="{680DC1A9-7C82-4CAF-9A8A-860BA4CA5A92}" dt="2026-03-04T13:52:12.840" v="1038" actId="208"/>
          <ac:picMkLst>
            <pc:docMk/>
            <pc:sldMk cId="223043884" sldId="366"/>
            <ac:picMk id="18" creationId="{90FD6900-6C17-C4F7-7FF0-06FCCF1F5783}"/>
          </ac:picMkLst>
        </pc:picChg>
        <pc:picChg chg="mod">
          <ac:chgData name="Nick Smith" userId="3e9c3b50-9271-4795-bb2e-6e49460c52cb" providerId="ADAL" clId="{680DC1A9-7C82-4CAF-9A8A-860BA4CA5A92}" dt="2026-03-04T13:52:12.840" v="1038" actId="208"/>
          <ac:picMkLst>
            <pc:docMk/>
            <pc:sldMk cId="223043884" sldId="366"/>
            <ac:picMk id="19" creationId="{324B9B33-7E63-2FCB-1288-D13679DD125A}"/>
          </ac:picMkLst>
        </pc:picChg>
      </pc:sldChg>
      <pc:sldChg chg="addSp delSp modSp mod">
        <pc:chgData name="Nick Smith" userId="3e9c3b50-9271-4795-bb2e-6e49460c52cb" providerId="ADAL" clId="{680DC1A9-7C82-4CAF-9A8A-860BA4CA5A92}" dt="2026-03-04T13:56:05.610" v="1059" actId="115"/>
        <pc:sldMkLst>
          <pc:docMk/>
          <pc:sldMk cId="2627277250" sldId="368"/>
        </pc:sldMkLst>
        <pc:spChg chg="mod">
          <ac:chgData name="Nick Smith" userId="3e9c3b50-9271-4795-bb2e-6e49460c52cb" providerId="ADAL" clId="{680DC1A9-7C82-4CAF-9A8A-860BA4CA5A92}" dt="2026-03-04T12:42:57.884" v="43" actId="1036"/>
          <ac:spMkLst>
            <pc:docMk/>
            <pc:sldMk cId="2627277250" sldId="368"/>
            <ac:spMk id="3" creationId="{10AFCDC6-8C07-DB95-7E88-7EB77CEA861E}"/>
          </ac:spMkLst>
        </pc:spChg>
        <pc:spChg chg="mod">
          <ac:chgData name="Nick Smith" userId="3e9c3b50-9271-4795-bb2e-6e49460c52cb" providerId="ADAL" clId="{680DC1A9-7C82-4CAF-9A8A-860BA4CA5A92}" dt="2026-03-04T13:56:05.610" v="1059" actId="115"/>
          <ac:spMkLst>
            <pc:docMk/>
            <pc:sldMk cId="2627277250" sldId="368"/>
            <ac:spMk id="12" creationId="{D6D579FA-4296-E7BC-6DE3-07CBE8C79A73}"/>
          </ac:spMkLst>
        </pc:spChg>
        <pc:spChg chg="mod">
          <ac:chgData name="Nick Smith" userId="3e9c3b50-9271-4795-bb2e-6e49460c52cb" providerId="ADAL" clId="{680DC1A9-7C82-4CAF-9A8A-860BA4CA5A92}" dt="2026-03-04T13:21:00.290" v="402" actId="14100"/>
          <ac:spMkLst>
            <pc:docMk/>
            <pc:sldMk cId="2627277250" sldId="368"/>
            <ac:spMk id="16" creationId="{69083650-D15F-49BF-F548-F7FBDB9CC6F0}"/>
          </ac:spMkLst>
        </pc:spChg>
        <pc:spChg chg="mod">
          <ac:chgData name="Nick Smith" userId="3e9c3b50-9271-4795-bb2e-6e49460c52cb" providerId="ADAL" clId="{680DC1A9-7C82-4CAF-9A8A-860BA4CA5A92}" dt="2026-03-04T13:52:56.249" v="1046" actId="114"/>
          <ac:spMkLst>
            <pc:docMk/>
            <pc:sldMk cId="2627277250" sldId="368"/>
            <ac:spMk id="20" creationId="{B36F4E32-5902-302B-7AD7-8C0FCFBAD8A8}"/>
          </ac:spMkLst>
        </pc:spChg>
        <pc:spChg chg="mod">
          <ac:chgData name="Nick Smith" userId="3e9c3b50-9271-4795-bb2e-6e49460c52cb" providerId="ADAL" clId="{680DC1A9-7C82-4CAF-9A8A-860BA4CA5A92}" dt="2026-03-04T12:43:43.709" v="50" actId="108"/>
          <ac:spMkLst>
            <pc:docMk/>
            <pc:sldMk cId="2627277250" sldId="368"/>
            <ac:spMk id="21" creationId="{C2B7A177-4D17-3B84-426E-CC58B2E4DE8E}"/>
          </ac:spMkLst>
        </pc:spChg>
        <pc:spChg chg="mod ord">
          <ac:chgData name="Nick Smith" userId="3e9c3b50-9271-4795-bb2e-6e49460c52cb" providerId="ADAL" clId="{680DC1A9-7C82-4CAF-9A8A-860BA4CA5A92}" dt="2026-03-04T13:39:59.228" v="684" actId="167"/>
          <ac:spMkLst>
            <pc:docMk/>
            <pc:sldMk cId="2627277250" sldId="368"/>
            <ac:spMk id="24" creationId="{1B7ED195-0831-B453-2A34-40279E648098}"/>
          </ac:spMkLst>
        </pc:spChg>
        <pc:spChg chg="mod">
          <ac:chgData name="Nick Smith" userId="3e9c3b50-9271-4795-bb2e-6e49460c52cb" providerId="ADAL" clId="{680DC1A9-7C82-4CAF-9A8A-860BA4CA5A92}" dt="2026-03-04T13:20:54.222" v="400" actId="1036"/>
          <ac:spMkLst>
            <pc:docMk/>
            <pc:sldMk cId="2627277250" sldId="368"/>
            <ac:spMk id="97" creationId="{06CF01B5-DAC7-BD12-10A9-D1DDDC9D1997}"/>
          </ac:spMkLst>
        </pc:spChg>
        <pc:spChg chg="add mod ord">
          <ac:chgData name="Nick Smith" userId="3e9c3b50-9271-4795-bb2e-6e49460c52cb" providerId="ADAL" clId="{680DC1A9-7C82-4CAF-9A8A-860BA4CA5A92}" dt="2026-03-04T13:40:18.261" v="686" actId="166"/>
          <ac:spMkLst>
            <pc:docMk/>
            <pc:sldMk cId="2627277250" sldId="368"/>
            <ac:spMk id="133" creationId="{6589769B-16E3-4D20-0D7C-07B58B951A3B}"/>
          </ac:spMkLst>
        </pc:spChg>
        <pc:spChg chg="add mod">
          <ac:chgData name="Nick Smith" userId="3e9c3b50-9271-4795-bb2e-6e49460c52cb" providerId="ADAL" clId="{680DC1A9-7C82-4CAF-9A8A-860BA4CA5A92}" dt="2026-03-04T13:39:48.006" v="682" actId="14100"/>
          <ac:spMkLst>
            <pc:docMk/>
            <pc:sldMk cId="2627277250" sldId="368"/>
            <ac:spMk id="134" creationId="{266C6E53-3007-E5FC-C710-619B90526882}"/>
          </ac:spMkLst>
        </pc:spChg>
        <pc:spChg chg="add mod">
          <ac:chgData name="Nick Smith" userId="3e9c3b50-9271-4795-bb2e-6e49460c52cb" providerId="ADAL" clId="{680DC1A9-7C82-4CAF-9A8A-860BA4CA5A92}" dt="2026-03-04T13:20:54.222" v="400" actId="1036"/>
          <ac:spMkLst>
            <pc:docMk/>
            <pc:sldMk cId="2627277250" sldId="368"/>
            <ac:spMk id="135" creationId="{5E89C3ED-0604-3D29-D719-B9389FD8B013}"/>
          </ac:spMkLst>
        </pc:spChg>
        <pc:spChg chg="add mod">
          <ac:chgData name="Nick Smith" userId="3e9c3b50-9271-4795-bb2e-6e49460c52cb" providerId="ADAL" clId="{680DC1A9-7C82-4CAF-9A8A-860BA4CA5A92}" dt="2026-03-04T13:20:54.222" v="400" actId="1036"/>
          <ac:spMkLst>
            <pc:docMk/>
            <pc:sldMk cId="2627277250" sldId="368"/>
            <ac:spMk id="137" creationId="{63150FB0-DD7E-AADF-A881-4BAF8F17DC08}"/>
          </ac:spMkLst>
        </pc:spChg>
        <pc:spChg chg="add mod">
          <ac:chgData name="Nick Smith" userId="3e9c3b50-9271-4795-bb2e-6e49460c52cb" providerId="ADAL" clId="{680DC1A9-7C82-4CAF-9A8A-860BA4CA5A92}" dt="2026-03-04T13:36:35.565" v="629" actId="1036"/>
          <ac:spMkLst>
            <pc:docMk/>
            <pc:sldMk cId="2627277250" sldId="368"/>
            <ac:spMk id="143" creationId="{2C0EC858-1783-9498-47F5-70125EA2DDBE}"/>
          </ac:spMkLst>
        </pc:spChg>
        <pc:spChg chg="add mod">
          <ac:chgData name="Nick Smith" userId="3e9c3b50-9271-4795-bb2e-6e49460c52cb" providerId="ADAL" clId="{680DC1A9-7C82-4CAF-9A8A-860BA4CA5A92}" dt="2026-03-04T13:36:44.788" v="631" actId="1076"/>
          <ac:spMkLst>
            <pc:docMk/>
            <pc:sldMk cId="2627277250" sldId="368"/>
            <ac:spMk id="144" creationId="{33D14A2E-23FB-60C6-5002-D9B081958A12}"/>
          </ac:spMkLst>
        </pc:spChg>
        <pc:spChg chg="add mod">
          <ac:chgData name="Nick Smith" userId="3e9c3b50-9271-4795-bb2e-6e49460c52cb" providerId="ADAL" clId="{680DC1A9-7C82-4CAF-9A8A-860BA4CA5A92}" dt="2026-03-04T13:36:35.565" v="629" actId="1036"/>
          <ac:spMkLst>
            <pc:docMk/>
            <pc:sldMk cId="2627277250" sldId="368"/>
            <ac:spMk id="145" creationId="{D09BC186-3BB5-5422-20AA-8505581D5CF7}"/>
          </ac:spMkLst>
        </pc:spChg>
        <pc:spChg chg="add mod">
          <ac:chgData name="Nick Smith" userId="3e9c3b50-9271-4795-bb2e-6e49460c52cb" providerId="ADAL" clId="{680DC1A9-7C82-4CAF-9A8A-860BA4CA5A92}" dt="2026-03-04T13:32:50.216" v="579" actId="1076"/>
          <ac:spMkLst>
            <pc:docMk/>
            <pc:sldMk cId="2627277250" sldId="368"/>
            <ac:spMk id="146" creationId="{B53D93BA-686A-7080-A5D2-5766D4C9A1C9}"/>
          </ac:spMkLst>
        </pc:spChg>
        <pc:spChg chg="add mod">
          <ac:chgData name="Nick Smith" userId="3e9c3b50-9271-4795-bb2e-6e49460c52cb" providerId="ADAL" clId="{680DC1A9-7C82-4CAF-9A8A-860BA4CA5A92}" dt="2026-03-04T13:36:35.565" v="629" actId="1036"/>
          <ac:spMkLst>
            <pc:docMk/>
            <pc:sldMk cId="2627277250" sldId="368"/>
            <ac:spMk id="147" creationId="{E3C1C1ED-8321-1A3F-43D4-5B59810115DA}"/>
          </ac:spMkLst>
        </pc:spChg>
        <pc:spChg chg="add mod">
          <ac:chgData name="Nick Smith" userId="3e9c3b50-9271-4795-bb2e-6e49460c52cb" providerId="ADAL" clId="{680DC1A9-7C82-4CAF-9A8A-860BA4CA5A92}" dt="2026-03-04T13:39:53.430" v="683" actId="208"/>
          <ac:spMkLst>
            <pc:docMk/>
            <pc:sldMk cId="2627277250" sldId="368"/>
            <ac:spMk id="148" creationId="{F7994984-DD8F-D1A5-1CC2-711219180444}"/>
          </ac:spMkLst>
        </pc:spChg>
        <pc:spChg chg="add mod">
          <ac:chgData name="Nick Smith" userId="3e9c3b50-9271-4795-bb2e-6e49460c52cb" providerId="ADAL" clId="{680DC1A9-7C82-4CAF-9A8A-860BA4CA5A92}" dt="2026-03-04T13:38:40.501" v="647" actId="1076"/>
          <ac:spMkLst>
            <pc:docMk/>
            <pc:sldMk cId="2627277250" sldId="368"/>
            <ac:spMk id="175" creationId="{97657E1C-F88A-EBF4-DAFC-13F946064FBB}"/>
          </ac:spMkLst>
        </pc:spChg>
        <pc:grpChg chg="mod">
          <ac:chgData name="Nick Smith" userId="3e9c3b50-9271-4795-bb2e-6e49460c52cb" providerId="ADAL" clId="{680DC1A9-7C82-4CAF-9A8A-860BA4CA5A92}" dt="2026-03-04T13:33:36.957" v="587" actId="1362"/>
          <ac:grpSpMkLst>
            <pc:docMk/>
            <pc:sldMk cId="2627277250" sldId="368"/>
            <ac:grpSpMk id="37" creationId="{6A048750-6003-8AC9-6A8D-AD367587830E}"/>
          </ac:grpSpMkLst>
        </pc:grpChg>
        <pc:grpChg chg="mod">
          <ac:chgData name="Nick Smith" userId="3e9c3b50-9271-4795-bb2e-6e49460c52cb" providerId="ADAL" clId="{680DC1A9-7C82-4CAF-9A8A-860BA4CA5A92}" dt="2026-03-04T13:33:36.957" v="587" actId="1362"/>
          <ac:grpSpMkLst>
            <pc:docMk/>
            <pc:sldMk cId="2627277250" sldId="368"/>
            <ac:grpSpMk id="40" creationId="{B79EB4AE-D8B5-FE62-B780-573CC239639E}"/>
          </ac:grpSpMkLst>
        </pc:grpChg>
        <pc:grpChg chg="mod">
          <ac:chgData name="Nick Smith" userId="3e9c3b50-9271-4795-bb2e-6e49460c52cb" providerId="ADAL" clId="{680DC1A9-7C82-4CAF-9A8A-860BA4CA5A92}" dt="2026-03-04T13:33:36.957" v="587" actId="1362"/>
          <ac:grpSpMkLst>
            <pc:docMk/>
            <pc:sldMk cId="2627277250" sldId="368"/>
            <ac:grpSpMk id="43" creationId="{5FC5C15E-3D26-44C0-8FDC-929DFD5C8B86}"/>
          </ac:grpSpMkLst>
        </pc:grpChg>
        <pc:grpChg chg="mod">
          <ac:chgData name="Nick Smith" userId="3e9c3b50-9271-4795-bb2e-6e49460c52cb" providerId="ADAL" clId="{680DC1A9-7C82-4CAF-9A8A-860BA4CA5A92}" dt="2026-03-04T13:33:36.957" v="587" actId="1362"/>
          <ac:grpSpMkLst>
            <pc:docMk/>
            <pc:sldMk cId="2627277250" sldId="368"/>
            <ac:grpSpMk id="54" creationId="{C039E3FC-E8C8-E4A3-7AF6-53A21C64E43A}"/>
          </ac:grpSpMkLst>
        </pc:grpChg>
        <pc:grpChg chg="mod">
          <ac:chgData name="Nick Smith" userId="3e9c3b50-9271-4795-bb2e-6e49460c52cb" providerId="ADAL" clId="{680DC1A9-7C82-4CAF-9A8A-860BA4CA5A92}" dt="2026-03-04T13:33:36.957" v="587" actId="1362"/>
          <ac:grpSpMkLst>
            <pc:docMk/>
            <pc:sldMk cId="2627277250" sldId="368"/>
            <ac:grpSpMk id="66" creationId="{5E66FA9E-D29A-5A0D-3DBD-F2510EAD4E6D}"/>
          </ac:grpSpMkLst>
        </pc:grpChg>
        <pc:grpChg chg="mod">
          <ac:chgData name="Nick Smith" userId="3e9c3b50-9271-4795-bb2e-6e49460c52cb" providerId="ADAL" clId="{680DC1A9-7C82-4CAF-9A8A-860BA4CA5A92}" dt="2026-03-04T13:33:36.957" v="587" actId="1362"/>
          <ac:grpSpMkLst>
            <pc:docMk/>
            <pc:sldMk cId="2627277250" sldId="368"/>
            <ac:grpSpMk id="69" creationId="{83A7A672-1929-899F-D8FE-6599D181B023}"/>
          </ac:grpSpMkLst>
        </pc:grpChg>
        <pc:grpChg chg="mod">
          <ac:chgData name="Nick Smith" userId="3e9c3b50-9271-4795-bb2e-6e49460c52cb" providerId="ADAL" clId="{680DC1A9-7C82-4CAF-9A8A-860BA4CA5A92}" dt="2026-03-04T13:33:36.957" v="587" actId="1362"/>
          <ac:grpSpMkLst>
            <pc:docMk/>
            <pc:sldMk cId="2627277250" sldId="368"/>
            <ac:grpSpMk id="72" creationId="{ECC575C4-D2F6-06B3-8DD5-8BF5CB7B3C72}"/>
          </ac:grpSpMkLst>
        </pc:grpChg>
        <pc:grpChg chg="mod">
          <ac:chgData name="Nick Smith" userId="3e9c3b50-9271-4795-bb2e-6e49460c52cb" providerId="ADAL" clId="{680DC1A9-7C82-4CAF-9A8A-860BA4CA5A92}" dt="2026-03-04T13:33:36.957" v="587" actId="1362"/>
          <ac:grpSpMkLst>
            <pc:docMk/>
            <pc:sldMk cId="2627277250" sldId="368"/>
            <ac:grpSpMk id="83" creationId="{BA82960C-42FF-EA4B-3A5B-2236B998894F}"/>
          </ac:grpSpMkLst>
        </pc:grpChg>
        <pc:picChg chg="mod">
          <ac:chgData name="Nick Smith" userId="3e9c3b50-9271-4795-bb2e-6e49460c52cb" providerId="ADAL" clId="{680DC1A9-7C82-4CAF-9A8A-860BA4CA5A92}" dt="2026-03-04T12:42:57.884" v="43" actId="1036"/>
          <ac:picMkLst>
            <pc:docMk/>
            <pc:sldMk cId="2627277250" sldId="368"/>
            <ac:picMk id="10" creationId="{CDB224A8-C92F-2979-EFDD-43335CC2BD2A}"/>
          </ac:picMkLst>
        </pc:picChg>
        <pc:picChg chg="mod">
          <ac:chgData name="Nick Smith" userId="3e9c3b50-9271-4795-bb2e-6e49460c52cb" providerId="ADAL" clId="{680DC1A9-7C82-4CAF-9A8A-860BA4CA5A92}" dt="2026-03-04T13:33:29.123" v="585" actId="1362"/>
          <ac:picMkLst>
            <pc:docMk/>
            <pc:sldMk cId="2627277250" sldId="368"/>
            <ac:picMk id="28" creationId="{18D1B108-127E-F22F-5C9E-0532925BCA48}"/>
          </ac:picMkLst>
        </pc:picChg>
        <pc:picChg chg="mod">
          <ac:chgData name="Nick Smith" userId="3e9c3b50-9271-4795-bb2e-6e49460c52cb" providerId="ADAL" clId="{680DC1A9-7C82-4CAF-9A8A-860BA4CA5A92}" dt="2026-03-04T13:33:29.123" v="585" actId="1362"/>
          <ac:picMkLst>
            <pc:docMk/>
            <pc:sldMk cId="2627277250" sldId="368"/>
            <ac:picMk id="30" creationId="{B8B1A0D1-6642-4220-C5CF-7A698FE559F0}"/>
          </ac:picMkLst>
        </pc:picChg>
        <pc:picChg chg="mod">
          <ac:chgData name="Nick Smith" userId="3e9c3b50-9271-4795-bb2e-6e49460c52cb" providerId="ADAL" clId="{680DC1A9-7C82-4CAF-9A8A-860BA4CA5A92}" dt="2026-03-04T13:33:33.211" v="586" actId="1362"/>
          <ac:picMkLst>
            <pc:docMk/>
            <pc:sldMk cId="2627277250" sldId="368"/>
            <ac:picMk id="31" creationId="{C74EF6F6-6114-DCEC-54EA-FD1400E2237F}"/>
          </ac:picMkLst>
        </pc:picChg>
        <pc:picChg chg="mod">
          <ac:chgData name="Nick Smith" userId="3e9c3b50-9271-4795-bb2e-6e49460c52cb" providerId="ADAL" clId="{680DC1A9-7C82-4CAF-9A8A-860BA4CA5A92}" dt="2026-03-04T13:33:29.123" v="585" actId="1362"/>
          <ac:picMkLst>
            <pc:docMk/>
            <pc:sldMk cId="2627277250" sldId="368"/>
            <ac:picMk id="32" creationId="{C04DB61B-3EA1-8B31-B666-A1096ADBB059}"/>
          </ac:picMkLst>
        </pc:picChg>
        <pc:picChg chg="mod">
          <ac:chgData name="Nick Smith" userId="3e9c3b50-9271-4795-bb2e-6e49460c52cb" providerId="ADAL" clId="{680DC1A9-7C82-4CAF-9A8A-860BA4CA5A92}" dt="2026-03-04T13:33:29.123" v="585" actId="1362"/>
          <ac:picMkLst>
            <pc:docMk/>
            <pc:sldMk cId="2627277250" sldId="368"/>
            <ac:picMk id="33" creationId="{51B6E4D8-B995-15E9-4F54-6CE98AB6EFB4}"/>
          </ac:picMkLst>
        </pc:picChg>
        <pc:picChg chg="mod">
          <ac:chgData name="Nick Smith" userId="3e9c3b50-9271-4795-bb2e-6e49460c52cb" providerId="ADAL" clId="{680DC1A9-7C82-4CAF-9A8A-860BA4CA5A92}" dt="2026-03-04T13:33:33.211" v="586" actId="1362"/>
          <ac:picMkLst>
            <pc:docMk/>
            <pc:sldMk cId="2627277250" sldId="368"/>
            <ac:picMk id="34" creationId="{31C99944-4220-9F0A-AEEB-642F2240515D}"/>
          </ac:picMkLst>
        </pc:picChg>
        <pc:picChg chg="mod">
          <ac:chgData name="Nick Smith" userId="3e9c3b50-9271-4795-bb2e-6e49460c52cb" providerId="ADAL" clId="{680DC1A9-7C82-4CAF-9A8A-860BA4CA5A92}" dt="2026-03-04T13:33:33.211" v="586" actId="1362"/>
          <ac:picMkLst>
            <pc:docMk/>
            <pc:sldMk cId="2627277250" sldId="368"/>
            <ac:picMk id="35" creationId="{03772C39-F731-5A26-257C-8008A12BECBB}"/>
          </ac:picMkLst>
        </pc:picChg>
        <pc:picChg chg="mod">
          <ac:chgData name="Nick Smith" userId="3e9c3b50-9271-4795-bb2e-6e49460c52cb" providerId="ADAL" clId="{680DC1A9-7C82-4CAF-9A8A-860BA4CA5A92}" dt="2026-03-04T12:41:28.508" v="20" actId="1076"/>
          <ac:picMkLst>
            <pc:docMk/>
            <pc:sldMk cId="2627277250" sldId="368"/>
            <ac:picMk id="64" creationId="{B370D059-98DF-40D6-4485-B405B53864E5}"/>
          </ac:picMkLst>
        </pc:picChg>
        <pc:picChg chg="mod">
          <ac:chgData name="Nick Smith" userId="3e9c3b50-9271-4795-bb2e-6e49460c52cb" providerId="ADAL" clId="{680DC1A9-7C82-4CAF-9A8A-860BA4CA5A92}" dt="2026-03-04T12:41:28.508" v="20" actId="1076"/>
          <ac:picMkLst>
            <pc:docMk/>
            <pc:sldMk cId="2627277250" sldId="368"/>
            <ac:picMk id="89" creationId="{3BDB89A3-9033-843B-82B0-FAFE13094047}"/>
          </ac:picMkLst>
        </pc:picChg>
        <pc:picChg chg="mod">
          <ac:chgData name="Nick Smith" userId="3e9c3b50-9271-4795-bb2e-6e49460c52cb" providerId="ADAL" clId="{680DC1A9-7C82-4CAF-9A8A-860BA4CA5A92}" dt="2026-03-04T13:33:19.899" v="584" actId="1362"/>
          <ac:picMkLst>
            <pc:docMk/>
            <pc:sldMk cId="2627277250" sldId="368"/>
            <ac:picMk id="94" creationId="{2914B98B-5E0C-6B0D-19B6-BBF556D2EF16}"/>
          </ac:picMkLst>
        </pc:picChg>
        <pc:picChg chg="mod">
          <ac:chgData name="Nick Smith" userId="3e9c3b50-9271-4795-bb2e-6e49460c52cb" providerId="ADAL" clId="{680DC1A9-7C82-4CAF-9A8A-860BA4CA5A92}" dt="2026-03-04T13:33:19.899" v="584" actId="1362"/>
          <ac:picMkLst>
            <pc:docMk/>
            <pc:sldMk cId="2627277250" sldId="368"/>
            <ac:picMk id="95" creationId="{3E24ADA1-EF72-767C-A22C-DA7BC5511D77}"/>
          </ac:picMkLst>
        </pc:picChg>
        <pc:picChg chg="mod">
          <ac:chgData name="Nick Smith" userId="3e9c3b50-9271-4795-bb2e-6e49460c52cb" providerId="ADAL" clId="{680DC1A9-7C82-4CAF-9A8A-860BA4CA5A92}" dt="2026-03-04T13:33:19.899" v="584" actId="1362"/>
          <ac:picMkLst>
            <pc:docMk/>
            <pc:sldMk cId="2627277250" sldId="368"/>
            <ac:picMk id="96" creationId="{FBB60CAC-0A31-3037-8C2B-F0E2C434FF8A}"/>
          </ac:picMkLst>
        </pc:picChg>
        <pc:picChg chg="mod">
          <ac:chgData name="Nick Smith" userId="3e9c3b50-9271-4795-bb2e-6e49460c52cb" providerId="ADAL" clId="{680DC1A9-7C82-4CAF-9A8A-860BA4CA5A92}" dt="2026-03-04T13:35:46.826" v="619" actId="1076"/>
          <ac:picMkLst>
            <pc:docMk/>
            <pc:sldMk cId="2627277250" sldId="368"/>
            <ac:picMk id="98" creationId="{F02EFE50-185D-AF75-A630-7F76AF8CC5C6}"/>
          </ac:picMkLst>
        </pc:picChg>
        <pc:cxnChg chg="mod">
          <ac:chgData name="Nick Smith" userId="3e9c3b50-9271-4795-bb2e-6e49460c52cb" providerId="ADAL" clId="{680DC1A9-7C82-4CAF-9A8A-860BA4CA5A92}" dt="2026-03-04T13:37:46.757" v="638" actId="1582"/>
          <ac:cxnSpMkLst>
            <pc:docMk/>
            <pc:sldMk cId="2627277250" sldId="368"/>
            <ac:cxnSpMk id="136" creationId="{C6D5511F-10DD-5302-90C8-437DDEC0BF3D}"/>
          </ac:cxnSpMkLst>
        </pc:cxnChg>
        <pc:cxnChg chg="mod">
          <ac:chgData name="Nick Smith" userId="3e9c3b50-9271-4795-bb2e-6e49460c52cb" providerId="ADAL" clId="{680DC1A9-7C82-4CAF-9A8A-860BA4CA5A92}" dt="2026-03-04T13:37:46.757" v="638" actId="1582"/>
          <ac:cxnSpMkLst>
            <pc:docMk/>
            <pc:sldMk cId="2627277250" sldId="368"/>
            <ac:cxnSpMk id="138" creationId="{68281F71-8F8E-4B39-F384-E7DA0AA91E2C}"/>
          </ac:cxnSpMkLst>
        </pc:cxnChg>
        <pc:cxnChg chg="add mod">
          <ac:chgData name="Nick Smith" userId="3e9c3b50-9271-4795-bb2e-6e49460c52cb" providerId="ADAL" clId="{680DC1A9-7C82-4CAF-9A8A-860BA4CA5A92}" dt="2026-03-04T13:39:53.430" v="683" actId="208"/>
          <ac:cxnSpMkLst>
            <pc:docMk/>
            <pc:sldMk cId="2627277250" sldId="368"/>
            <ac:cxnSpMk id="151" creationId="{1950D3F5-31BB-0D3B-DAEE-6557DF9990F0}"/>
          </ac:cxnSpMkLst>
        </pc:cxnChg>
      </pc:sldChg>
      <pc:sldChg chg="addSp delSp modSp mod">
        <pc:chgData name="Nick Smith" userId="3e9c3b50-9271-4795-bb2e-6e49460c52cb" providerId="ADAL" clId="{680DC1A9-7C82-4CAF-9A8A-860BA4CA5A92}" dt="2026-03-04T13:57:11.328" v="1063" actId="1076"/>
        <pc:sldMkLst>
          <pc:docMk/>
          <pc:sldMk cId="2430398786" sldId="369"/>
        </pc:sldMkLst>
        <pc:spChg chg="mod">
          <ac:chgData name="Nick Smith" userId="3e9c3b50-9271-4795-bb2e-6e49460c52cb" providerId="ADAL" clId="{680DC1A9-7C82-4CAF-9A8A-860BA4CA5A92}" dt="2026-03-04T13:20:19.810" v="380" actId="1036"/>
          <ac:spMkLst>
            <pc:docMk/>
            <pc:sldMk cId="2430398786" sldId="369"/>
            <ac:spMk id="3" creationId="{3A348C4E-7F15-431B-CDD4-B3943A84206E}"/>
          </ac:spMkLst>
        </pc:spChg>
        <pc:spChg chg="mod">
          <ac:chgData name="Nick Smith" userId="3e9c3b50-9271-4795-bb2e-6e49460c52cb" providerId="ADAL" clId="{680DC1A9-7C82-4CAF-9A8A-860BA4CA5A92}" dt="2026-03-04T13:20:19.810" v="380" actId="1036"/>
          <ac:spMkLst>
            <pc:docMk/>
            <pc:sldMk cId="2430398786" sldId="369"/>
            <ac:spMk id="4" creationId="{E3BC13BF-27B7-0735-AF2A-1CE46D5DE24A}"/>
          </ac:spMkLst>
        </pc:spChg>
        <pc:spChg chg="add mod">
          <ac:chgData name="Nick Smith" userId="3e9c3b50-9271-4795-bb2e-6e49460c52cb" providerId="ADAL" clId="{680DC1A9-7C82-4CAF-9A8A-860BA4CA5A92}" dt="2026-03-04T13:20:08.058" v="363" actId="207"/>
          <ac:spMkLst>
            <pc:docMk/>
            <pc:sldMk cId="2430398786" sldId="369"/>
            <ac:spMk id="5" creationId="{434C2AA0-48A2-D0B8-C231-3D8FDA6E3073}"/>
          </ac:spMkLst>
        </pc:spChg>
        <pc:spChg chg="mod">
          <ac:chgData name="Nick Smith" userId="3e9c3b50-9271-4795-bb2e-6e49460c52cb" providerId="ADAL" clId="{680DC1A9-7C82-4CAF-9A8A-860BA4CA5A92}" dt="2026-03-04T13:56:19.333" v="1060" actId="113"/>
          <ac:spMkLst>
            <pc:docMk/>
            <pc:sldMk cId="2430398786" sldId="369"/>
            <ac:spMk id="12" creationId="{10DF432A-2B56-A90D-FDC5-50ECAF9D26B6}"/>
          </ac:spMkLst>
        </pc:spChg>
        <pc:spChg chg="mod">
          <ac:chgData name="Nick Smith" userId="3e9c3b50-9271-4795-bb2e-6e49460c52cb" providerId="ADAL" clId="{680DC1A9-7C82-4CAF-9A8A-860BA4CA5A92}" dt="2026-03-04T13:20:19.810" v="380" actId="1036"/>
          <ac:spMkLst>
            <pc:docMk/>
            <pc:sldMk cId="2430398786" sldId="369"/>
            <ac:spMk id="16" creationId="{604308B4-5E80-B764-514C-3EA5802BEA17}"/>
          </ac:spMkLst>
        </pc:spChg>
        <pc:spChg chg="mod">
          <ac:chgData name="Nick Smith" userId="3e9c3b50-9271-4795-bb2e-6e49460c52cb" providerId="ADAL" clId="{680DC1A9-7C82-4CAF-9A8A-860BA4CA5A92}" dt="2026-03-04T13:53:15.843" v="1051" actId="403"/>
          <ac:spMkLst>
            <pc:docMk/>
            <pc:sldMk cId="2430398786" sldId="369"/>
            <ac:spMk id="20" creationId="{765FA8AC-2967-41EA-690C-A74268912328}"/>
          </ac:spMkLst>
        </pc:spChg>
        <pc:spChg chg="mod">
          <ac:chgData name="Nick Smith" userId="3e9c3b50-9271-4795-bb2e-6e49460c52cb" providerId="ADAL" clId="{680DC1A9-7C82-4CAF-9A8A-860BA4CA5A92}" dt="2026-03-04T13:19:55.736" v="361" actId="1076"/>
          <ac:spMkLst>
            <pc:docMk/>
            <pc:sldMk cId="2430398786" sldId="369"/>
            <ac:spMk id="22" creationId="{E52118F4-6714-67A8-625D-B2538E83889F}"/>
          </ac:spMkLst>
        </pc:spChg>
        <pc:spChg chg="add mod">
          <ac:chgData name="Nick Smith" userId="3e9c3b50-9271-4795-bb2e-6e49460c52cb" providerId="ADAL" clId="{680DC1A9-7C82-4CAF-9A8A-860BA4CA5A92}" dt="2026-03-04T13:30:56.146" v="560" actId="1076"/>
          <ac:spMkLst>
            <pc:docMk/>
            <pc:sldMk cId="2430398786" sldId="369"/>
            <ac:spMk id="26" creationId="{98031CF8-4729-43B3-4C7A-E15302E69052}"/>
          </ac:spMkLst>
        </pc:spChg>
        <pc:spChg chg="add mod">
          <ac:chgData name="Nick Smith" userId="3e9c3b50-9271-4795-bb2e-6e49460c52cb" providerId="ADAL" clId="{680DC1A9-7C82-4CAF-9A8A-860BA4CA5A92}" dt="2026-03-04T13:31:06.458" v="562" actId="1076"/>
          <ac:spMkLst>
            <pc:docMk/>
            <pc:sldMk cId="2430398786" sldId="369"/>
            <ac:spMk id="27" creationId="{AB5E7573-8CBC-8B3A-2DF1-CE836B5ECECB}"/>
          </ac:spMkLst>
        </pc:spChg>
        <pc:spChg chg="add mod">
          <ac:chgData name="Nick Smith" userId="3e9c3b50-9271-4795-bb2e-6e49460c52cb" providerId="ADAL" clId="{680DC1A9-7C82-4CAF-9A8A-860BA4CA5A92}" dt="2026-03-04T13:31:44.369" v="568" actId="1076"/>
          <ac:spMkLst>
            <pc:docMk/>
            <pc:sldMk cId="2430398786" sldId="369"/>
            <ac:spMk id="29" creationId="{6157C395-9C49-D21B-1141-241C59DB83EE}"/>
          </ac:spMkLst>
        </pc:spChg>
        <pc:spChg chg="add mod">
          <ac:chgData name="Nick Smith" userId="3e9c3b50-9271-4795-bb2e-6e49460c52cb" providerId="ADAL" clId="{680DC1A9-7C82-4CAF-9A8A-860BA4CA5A92}" dt="2026-03-04T13:37:03.785" v="634" actId="1076"/>
          <ac:spMkLst>
            <pc:docMk/>
            <pc:sldMk cId="2430398786" sldId="369"/>
            <ac:spMk id="31" creationId="{1DD1EF7E-A608-96FF-C3E5-DB8150F328C5}"/>
          </ac:spMkLst>
        </pc:spChg>
        <pc:spChg chg="mod">
          <ac:chgData name="Nick Smith" userId="3e9c3b50-9271-4795-bb2e-6e49460c52cb" providerId="ADAL" clId="{680DC1A9-7C82-4CAF-9A8A-860BA4CA5A92}" dt="2026-03-04T13:20:15.407" v="373" actId="1036"/>
          <ac:spMkLst>
            <pc:docMk/>
            <pc:sldMk cId="2430398786" sldId="369"/>
            <ac:spMk id="278" creationId="{629F1EB8-EBB2-C989-8F76-35BD38184682}"/>
          </ac:spMkLst>
        </pc:spChg>
        <pc:spChg chg="add mod">
          <ac:chgData name="Nick Smith" userId="3e9c3b50-9271-4795-bb2e-6e49460c52cb" providerId="ADAL" clId="{680DC1A9-7C82-4CAF-9A8A-860BA4CA5A92}" dt="2026-03-04T13:57:11.328" v="1063" actId="1076"/>
          <ac:spMkLst>
            <pc:docMk/>
            <pc:sldMk cId="2430398786" sldId="369"/>
            <ac:spMk id="307" creationId="{CD7A51F6-5D0F-DF83-3250-0FA1DB881D4D}"/>
          </ac:spMkLst>
        </pc:spChg>
        <pc:spChg chg="mod">
          <ac:chgData name="Nick Smith" userId="3e9c3b50-9271-4795-bb2e-6e49460c52cb" providerId="ADAL" clId="{680DC1A9-7C82-4CAF-9A8A-860BA4CA5A92}" dt="2026-03-04T13:27:50.236" v="494" actId="1362"/>
          <ac:spMkLst>
            <pc:docMk/>
            <pc:sldMk cId="2430398786" sldId="369"/>
            <ac:spMk id="330" creationId="{39D34780-B1E3-1C3F-03AC-90AD389B4CB8}"/>
          </ac:spMkLst>
        </pc:spChg>
        <pc:spChg chg="mod ord">
          <ac:chgData name="Nick Smith" userId="3e9c3b50-9271-4795-bb2e-6e49460c52cb" providerId="ADAL" clId="{680DC1A9-7C82-4CAF-9A8A-860BA4CA5A92}" dt="2026-03-04T13:32:17.819" v="575" actId="14100"/>
          <ac:spMkLst>
            <pc:docMk/>
            <pc:sldMk cId="2430398786" sldId="369"/>
            <ac:spMk id="334" creationId="{F939BF4B-8FD4-AEDE-7A1D-18EE047C0BB2}"/>
          </ac:spMkLst>
        </pc:spChg>
        <pc:grpChg chg="add del">
          <ac:chgData name="Nick Smith" userId="3e9c3b50-9271-4795-bb2e-6e49460c52cb" providerId="ADAL" clId="{680DC1A9-7C82-4CAF-9A8A-860BA4CA5A92}" dt="2026-03-04T13:18:20.185" v="343" actId="478"/>
          <ac:grpSpMkLst>
            <pc:docMk/>
            <pc:sldMk cId="2430398786" sldId="369"/>
            <ac:grpSpMk id="253" creationId="{939C267D-555C-DF02-4278-DB7BB5271911}"/>
          </ac:grpSpMkLst>
        </pc:grpChg>
        <pc:picChg chg="mod">
          <ac:chgData name="Nick Smith" userId="3e9c3b50-9271-4795-bb2e-6e49460c52cb" providerId="ADAL" clId="{680DC1A9-7C82-4CAF-9A8A-860BA4CA5A92}" dt="2026-03-04T13:20:19.810" v="380" actId="1036"/>
          <ac:picMkLst>
            <pc:docMk/>
            <pc:sldMk cId="2430398786" sldId="369"/>
            <ac:picMk id="7" creationId="{74C8F065-91F0-33B9-4633-D34C0279081D}"/>
          </ac:picMkLst>
        </pc:picChg>
        <pc:picChg chg="mod">
          <ac:chgData name="Nick Smith" userId="3e9c3b50-9271-4795-bb2e-6e49460c52cb" providerId="ADAL" clId="{680DC1A9-7C82-4CAF-9A8A-860BA4CA5A92}" dt="2026-03-04T13:29:00.133" v="519" actId="1035"/>
          <ac:picMkLst>
            <pc:docMk/>
            <pc:sldMk cId="2430398786" sldId="369"/>
            <ac:picMk id="8" creationId="{E9346A01-DA7A-DB3E-B58D-CF773F1B31C4}"/>
          </ac:picMkLst>
        </pc:picChg>
        <pc:picChg chg="mod">
          <ac:chgData name="Nick Smith" userId="3e9c3b50-9271-4795-bb2e-6e49460c52cb" providerId="ADAL" clId="{680DC1A9-7C82-4CAF-9A8A-860BA4CA5A92}" dt="2026-03-04T13:20:19.810" v="380" actId="1036"/>
          <ac:picMkLst>
            <pc:docMk/>
            <pc:sldMk cId="2430398786" sldId="369"/>
            <ac:picMk id="10" creationId="{04504032-8266-FBE5-F4D1-402AC4998BAE}"/>
          </ac:picMkLst>
        </pc:picChg>
        <pc:picChg chg="mod">
          <ac:chgData name="Nick Smith" userId="3e9c3b50-9271-4795-bb2e-6e49460c52cb" providerId="ADAL" clId="{680DC1A9-7C82-4CAF-9A8A-860BA4CA5A92}" dt="2026-03-04T13:29:00.133" v="519" actId="1035"/>
          <ac:picMkLst>
            <pc:docMk/>
            <pc:sldMk cId="2430398786" sldId="369"/>
            <ac:picMk id="11" creationId="{6947AC41-65B4-8C6B-0AF7-73C82AE8105F}"/>
          </ac:picMkLst>
        </pc:picChg>
        <pc:picChg chg="mod">
          <ac:chgData name="Nick Smith" userId="3e9c3b50-9271-4795-bb2e-6e49460c52cb" providerId="ADAL" clId="{680DC1A9-7C82-4CAF-9A8A-860BA4CA5A92}" dt="2026-03-04T13:29:00.133" v="519" actId="1035"/>
          <ac:picMkLst>
            <pc:docMk/>
            <pc:sldMk cId="2430398786" sldId="369"/>
            <ac:picMk id="13" creationId="{5E354C72-6635-A02E-67C5-211E3FEBC6E0}"/>
          </ac:picMkLst>
        </pc:picChg>
        <pc:picChg chg="mod">
          <ac:chgData name="Nick Smith" userId="3e9c3b50-9271-4795-bb2e-6e49460c52cb" providerId="ADAL" clId="{680DC1A9-7C82-4CAF-9A8A-860BA4CA5A92}" dt="2026-03-04T13:29:00.133" v="519" actId="1035"/>
          <ac:picMkLst>
            <pc:docMk/>
            <pc:sldMk cId="2430398786" sldId="369"/>
            <ac:picMk id="15" creationId="{50A9653B-DA6C-1FE5-F27F-1A8FE5163D2B}"/>
          </ac:picMkLst>
        </pc:picChg>
        <pc:picChg chg="mod">
          <ac:chgData name="Nick Smith" userId="3e9c3b50-9271-4795-bb2e-6e49460c52cb" providerId="ADAL" clId="{680DC1A9-7C82-4CAF-9A8A-860BA4CA5A92}" dt="2026-03-04T13:29:00.133" v="519" actId="1035"/>
          <ac:picMkLst>
            <pc:docMk/>
            <pc:sldMk cId="2430398786" sldId="369"/>
            <ac:picMk id="17" creationId="{175AF18B-A66F-2125-4ED7-0136FBA093B3}"/>
          </ac:picMkLst>
        </pc:picChg>
        <pc:picChg chg="mod">
          <ac:chgData name="Nick Smith" userId="3e9c3b50-9271-4795-bb2e-6e49460c52cb" providerId="ADAL" clId="{680DC1A9-7C82-4CAF-9A8A-860BA4CA5A92}" dt="2026-03-04T13:29:00.133" v="519" actId="1035"/>
          <ac:picMkLst>
            <pc:docMk/>
            <pc:sldMk cId="2430398786" sldId="369"/>
            <ac:picMk id="18" creationId="{93CC2CEF-EDD1-8626-73DF-73AFDF66A827}"/>
          </ac:picMkLst>
        </pc:picChg>
        <pc:picChg chg="mod">
          <ac:chgData name="Nick Smith" userId="3e9c3b50-9271-4795-bb2e-6e49460c52cb" providerId="ADAL" clId="{680DC1A9-7C82-4CAF-9A8A-860BA4CA5A92}" dt="2026-03-04T13:29:00.133" v="519" actId="1035"/>
          <ac:picMkLst>
            <pc:docMk/>
            <pc:sldMk cId="2430398786" sldId="369"/>
            <ac:picMk id="19" creationId="{8606E4A2-E6CD-E36B-D099-876AE7643E76}"/>
          </ac:picMkLst>
        </pc:picChg>
        <pc:picChg chg="mod">
          <ac:chgData name="Nick Smith" userId="3e9c3b50-9271-4795-bb2e-6e49460c52cb" providerId="ADAL" clId="{680DC1A9-7C82-4CAF-9A8A-860BA4CA5A92}" dt="2026-03-04T13:29:00.133" v="519" actId="1035"/>
          <ac:picMkLst>
            <pc:docMk/>
            <pc:sldMk cId="2430398786" sldId="369"/>
            <ac:picMk id="23" creationId="{A7AF7C1E-AE61-A28A-7C14-FA59899A285C}"/>
          </ac:picMkLst>
        </pc:picChg>
        <pc:picChg chg="mod">
          <ac:chgData name="Nick Smith" userId="3e9c3b50-9271-4795-bb2e-6e49460c52cb" providerId="ADAL" clId="{680DC1A9-7C82-4CAF-9A8A-860BA4CA5A92}" dt="2026-03-04T13:29:00.133" v="519" actId="1035"/>
          <ac:picMkLst>
            <pc:docMk/>
            <pc:sldMk cId="2430398786" sldId="369"/>
            <ac:picMk id="24" creationId="{DC975B0A-7C7A-E3B5-6D2D-A6701E6D1145}"/>
          </ac:picMkLst>
        </pc:picChg>
        <pc:picChg chg="mod">
          <ac:chgData name="Nick Smith" userId="3e9c3b50-9271-4795-bb2e-6e49460c52cb" providerId="ADAL" clId="{680DC1A9-7C82-4CAF-9A8A-860BA4CA5A92}" dt="2026-03-04T13:29:00.133" v="519" actId="1035"/>
          <ac:picMkLst>
            <pc:docMk/>
            <pc:sldMk cId="2430398786" sldId="369"/>
            <ac:picMk id="25" creationId="{48E98180-B2FF-2CCB-3529-E38C5463EB49}"/>
          </ac:picMkLst>
        </pc:picChg>
        <pc:picChg chg="mod">
          <ac:chgData name="Nick Smith" userId="3e9c3b50-9271-4795-bb2e-6e49460c52cb" providerId="ADAL" clId="{680DC1A9-7C82-4CAF-9A8A-860BA4CA5A92}" dt="2026-03-04T13:27:55.521" v="495" actId="1362"/>
          <ac:picMkLst>
            <pc:docMk/>
            <pc:sldMk cId="2430398786" sldId="369"/>
            <ac:picMk id="209" creationId="{728EFF98-E690-4D8B-DA88-4710CAA83827}"/>
          </ac:picMkLst>
        </pc:picChg>
        <pc:picChg chg="mod">
          <ac:chgData name="Nick Smith" userId="3e9c3b50-9271-4795-bb2e-6e49460c52cb" providerId="ADAL" clId="{680DC1A9-7C82-4CAF-9A8A-860BA4CA5A92}" dt="2026-03-04T13:19:11.497" v="351" actId="167"/>
          <ac:picMkLst>
            <pc:docMk/>
            <pc:sldMk cId="2430398786" sldId="369"/>
            <ac:picMk id="210" creationId="{8B143BC0-9ED8-8CD6-4AD8-C03E1A269E1B}"/>
          </ac:picMkLst>
        </pc:picChg>
        <pc:picChg chg="mod">
          <ac:chgData name="Nick Smith" userId="3e9c3b50-9271-4795-bb2e-6e49460c52cb" providerId="ADAL" clId="{680DC1A9-7C82-4CAF-9A8A-860BA4CA5A92}" dt="2026-03-04T13:27:50.236" v="494" actId="1362"/>
          <ac:picMkLst>
            <pc:docMk/>
            <pc:sldMk cId="2430398786" sldId="369"/>
            <ac:picMk id="211" creationId="{A9F055EB-04BE-F1E9-D938-B6EEE4FF6E09}"/>
          </ac:picMkLst>
        </pc:picChg>
        <pc:picChg chg="mod">
          <ac:chgData name="Nick Smith" userId="3e9c3b50-9271-4795-bb2e-6e49460c52cb" providerId="ADAL" clId="{680DC1A9-7C82-4CAF-9A8A-860BA4CA5A92}" dt="2026-03-04T13:27:50.236" v="494" actId="1362"/>
          <ac:picMkLst>
            <pc:docMk/>
            <pc:sldMk cId="2430398786" sldId="369"/>
            <ac:picMk id="212" creationId="{6CC74899-656C-D21C-5859-77C5AA4D3571}"/>
          </ac:picMkLst>
        </pc:picChg>
        <pc:picChg chg="mod">
          <ac:chgData name="Nick Smith" userId="3e9c3b50-9271-4795-bb2e-6e49460c52cb" providerId="ADAL" clId="{680DC1A9-7C82-4CAF-9A8A-860BA4CA5A92}" dt="2026-03-04T13:27:50.236" v="494" actId="1362"/>
          <ac:picMkLst>
            <pc:docMk/>
            <pc:sldMk cId="2430398786" sldId="369"/>
            <ac:picMk id="213" creationId="{0E017ACF-B983-0D65-C5B9-4276CD2C24E8}"/>
          </ac:picMkLst>
        </pc:picChg>
        <pc:picChg chg="mod">
          <ac:chgData name="Nick Smith" userId="3e9c3b50-9271-4795-bb2e-6e49460c52cb" providerId="ADAL" clId="{680DC1A9-7C82-4CAF-9A8A-860BA4CA5A92}" dt="2026-03-04T13:27:50.236" v="494" actId="1362"/>
          <ac:picMkLst>
            <pc:docMk/>
            <pc:sldMk cId="2430398786" sldId="369"/>
            <ac:picMk id="214" creationId="{4AFC0F93-F7DD-EA07-89DD-519F3739E853}"/>
          </ac:picMkLst>
        </pc:picChg>
        <pc:picChg chg="mod">
          <ac:chgData name="Nick Smith" userId="3e9c3b50-9271-4795-bb2e-6e49460c52cb" providerId="ADAL" clId="{680DC1A9-7C82-4CAF-9A8A-860BA4CA5A92}" dt="2026-03-04T13:27:50.236" v="494" actId="1362"/>
          <ac:picMkLst>
            <pc:docMk/>
            <pc:sldMk cId="2430398786" sldId="369"/>
            <ac:picMk id="215" creationId="{89679A2A-31A2-2CB0-D5DC-C43D35A7074E}"/>
          </ac:picMkLst>
        </pc:picChg>
        <pc:picChg chg="mod">
          <ac:chgData name="Nick Smith" userId="3e9c3b50-9271-4795-bb2e-6e49460c52cb" providerId="ADAL" clId="{680DC1A9-7C82-4CAF-9A8A-860BA4CA5A92}" dt="2026-03-04T13:27:55.521" v="495" actId="1362"/>
          <ac:picMkLst>
            <pc:docMk/>
            <pc:sldMk cId="2430398786" sldId="369"/>
            <ac:picMk id="216" creationId="{F62DFE16-EDA8-709F-BF91-4AE7390FB6F8}"/>
          </ac:picMkLst>
        </pc:picChg>
        <pc:picChg chg="mod">
          <ac:chgData name="Nick Smith" userId="3e9c3b50-9271-4795-bb2e-6e49460c52cb" providerId="ADAL" clId="{680DC1A9-7C82-4CAF-9A8A-860BA4CA5A92}" dt="2026-03-04T13:20:15.407" v="373" actId="1036"/>
          <ac:picMkLst>
            <pc:docMk/>
            <pc:sldMk cId="2430398786" sldId="369"/>
            <ac:picMk id="219" creationId="{6054954D-3B64-78CB-FF53-1EE37E97F2E2}"/>
          </ac:picMkLst>
        </pc:picChg>
        <pc:picChg chg="mod">
          <ac:chgData name="Nick Smith" userId="3e9c3b50-9271-4795-bb2e-6e49460c52cb" providerId="ADAL" clId="{680DC1A9-7C82-4CAF-9A8A-860BA4CA5A92}" dt="2026-03-04T13:28:55.713" v="507" actId="1076"/>
          <ac:picMkLst>
            <pc:docMk/>
            <pc:sldMk cId="2430398786" sldId="369"/>
            <ac:picMk id="225" creationId="{D266DDFA-A166-05CE-1084-2B3CCDA0648E}"/>
          </ac:picMkLst>
        </pc:picChg>
        <pc:picChg chg="mod">
          <ac:chgData name="Nick Smith" userId="3e9c3b50-9271-4795-bb2e-6e49460c52cb" providerId="ADAL" clId="{680DC1A9-7C82-4CAF-9A8A-860BA4CA5A92}" dt="2026-03-04T13:28:55.713" v="507" actId="1076"/>
          <ac:picMkLst>
            <pc:docMk/>
            <pc:sldMk cId="2430398786" sldId="369"/>
            <ac:picMk id="226" creationId="{810678D5-F08E-2CB7-B6E4-9801D61AC8A1}"/>
          </ac:picMkLst>
        </pc:picChg>
        <pc:picChg chg="mod">
          <ac:chgData name="Nick Smith" userId="3e9c3b50-9271-4795-bb2e-6e49460c52cb" providerId="ADAL" clId="{680DC1A9-7C82-4CAF-9A8A-860BA4CA5A92}" dt="2026-03-04T13:28:55.713" v="507" actId="1076"/>
          <ac:picMkLst>
            <pc:docMk/>
            <pc:sldMk cId="2430398786" sldId="369"/>
            <ac:picMk id="227" creationId="{4E9898E1-61E4-9671-0570-DB16185E1AED}"/>
          </ac:picMkLst>
        </pc:picChg>
        <pc:picChg chg="mod">
          <ac:chgData name="Nick Smith" userId="3e9c3b50-9271-4795-bb2e-6e49460c52cb" providerId="ADAL" clId="{680DC1A9-7C82-4CAF-9A8A-860BA4CA5A92}" dt="2026-03-04T13:28:55.713" v="507" actId="1076"/>
          <ac:picMkLst>
            <pc:docMk/>
            <pc:sldMk cId="2430398786" sldId="369"/>
            <ac:picMk id="228" creationId="{81D72C22-9691-30D8-5F6E-1DC5E564B9FF}"/>
          </ac:picMkLst>
        </pc:picChg>
        <pc:picChg chg="mod">
          <ac:chgData name="Nick Smith" userId="3e9c3b50-9271-4795-bb2e-6e49460c52cb" providerId="ADAL" clId="{680DC1A9-7C82-4CAF-9A8A-860BA4CA5A92}" dt="2026-03-04T13:28:55.713" v="507" actId="1076"/>
          <ac:picMkLst>
            <pc:docMk/>
            <pc:sldMk cId="2430398786" sldId="369"/>
            <ac:picMk id="229" creationId="{3F78C244-6981-FAEF-0560-5C9278499611}"/>
          </ac:picMkLst>
        </pc:picChg>
        <pc:picChg chg="mod">
          <ac:chgData name="Nick Smith" userId="3e9c3b50-9271-4795-bb2e-6e49460c52cb" providerId="ADAL" clId="{680DC1A9-7C82-4CAF-9A8A-860BA4CA5A92}" dt="2026-03-04T13:28:55.713" v="507" actId="1076"/>
          <ac:picMkLst>
            <pc:docMk/>
            <pc:sldMk cId="2430398786" sldId="369"/>
            <ac:picMk id="230" creationId="{F27B0D7D-E5D7-75D2-2573-2621D41C6214}"/>
          </ac:picMkLst>
        </pc:picChg>
        <pc:picChg chg="mod">
          <ac:chgData name="Nick Smith" userId="3e9c3b50-9271-4795-bb2e-6e49460c52cb" providerId="ADAL" clId="{680DC1A9-7C82-4CAF-9A8A-860BA4CA5A92}" dt="2026-03-04T13:28:55.713" v="507" actId="1076"/>
          <ac:picMkLst>
            <pc:docMk/>
            <pc:sldMk cId="2430398786" sldId="369"/>
            <ac:picMk id="231" creationId="{7BFB20A2-0218-951F-85EC-FD1AEF67EC4F}"/>
          </ac:picMkLst>
        </pc:picChg>
        <pc:picChg chg="mod">
          <ac:chgData name="Nick Smith" userId="3e9c3b50-9271-4795-bb2e-6e49460c52cb" providerId="ADAL" clId="{680DC1A9-7C82-4CAF-9A8A-860BA4CA5A92}" dt="2026-03-04T13:28:55.713" v="507" actId="1076"/>
          <ac:picMkLst>
            <pc:docMk/>
            <pc:sldMk cId="2430398786" sldId="369"/>
            <ac:picMk id="232" creationId="{B75FDA31-0267-243F-13E9-25DFDA133CB8}"/>
          </ac:picMkLst>
        </pc:picChg>
        <pc:picChg chg="mod">
          <ac:chgData name="Nick Smith" userId="3e9c3b50-9271-4795-bb2e-6e49460c52cb" providerId="ADAL" clId="{680DC1A9-7C82-4CAF-9A8A-860BA4CA5A92}" dt="2026-03-04T13:28:55.713" v="507" actId="1076"/>
          <ac:picMkLst>
            <pc:docMk/>
            <pc:sldMk cId="2430398786" sldId="369"/>
            <ac:picMk id="233" creationId="{EEFA9F3D-0712-AC00-B58E-4D1753BA299D}"/>
          </ac:picMkLst>
        </pc:picChg>
        <pc:picChg chg="mod">
          <ac:chgData name="Nick Smith" userId="3e9c3b50-9271-4795-bb2e-6e49460c52cb" providerId="ADAL" clId="{680DC1A9-7C82-4CAF-9A8A-860BA4CA5A92}" dt="2026-03-04T13:28:55.713" v="507" actId="1076"/>
          <ac:picMkLst>
            <pc:docMk/>
            <pc:sldMk cId="2430398786" sldId="369"/>
            <ac:picMk id="234" creationId="{4206C574-4670-95B7-F397-6DF3C5C6AA1F}"/>
          </ac:picMkLst>
        </pc:picChg>
        <pc:picChg chg="mod">
          <ac:chgData name="Nick Smith" userId="3e9c3b50-9271-4795-bb2e-6e49460c52cb" providerId="ADAL" clId="{680DC1A9-7C82-4CAF-9A8A-860BA4CA5A92}" dt="2026-03-04T13:27:50.236" v="494" actId="1362"/>
          <ac:picMkLst>
            <pc:docMk/>
            <pc:sldMk cId="2430398786" sldId="369"/>
            <ac:picMk id="246" creationId="{BB1BDE7A-7400-9BE1-37FA-42D37B37E755}"/>
          </ac:picMkLst>
        </pc:picChg>
        <pc:picChg chg="mod">
          <ac:chgData name="Nick Smith" userId="3e9c3b50-9271-4795-bb2e-6e49460c52cb" providerId="ADAL" clId="{680DC1A9-7C82-4CAF-9A8A-860BA4CA5A92}" dt="2026-03-04T13:27:50.236" v="494" actId="1362"/>
          <ac:picMkLst>
            <pc:docMk/>
            <pc:sldMk cId="2430398786" sldId="369"/>
            <ac:picMk id="275" creationId="{52C6BA1F-C4F0-6328-AE85-EA4365F30B7B}"/>
          </ac:picMkLst>
        </pc:picChg>
        <pc:picChg chg="mod">
          <ac:chgData name="Nick Smith" userId="3e9c3b50-9271-4795-bb2e-6e49460c52cb" providerId="ADAL" clId="{680DC1A9-7C82-4CAF-9A8A-860BA4CA5A92}" dt="2026-03-04T13:30:33.288" v="556" actId="1076"/>
          <ac:picMkLst>
            <pc:docMk/>
            <pc:sldMk cId="2430398786" sldId="369"/>
            <ac:picMk id="276" creationId="{EB30BBAB-BE46-5F13-3DC8-0968DF59A0C2}"/>
          </ac:picMkLst>
        </pc:picChg>
        <pc:picChg chg="mod">
          <ac:chgData name="Nick Smith" userId="3e9c3b50-9271-4795-bb2e-6e49460c52cb" providerId="ADAL" clId="{680DC1A9-7C82-4CAF-9A8A-860BA4CA5A92}" dt="2026-03-04T13:27:50.236" v="494" actId="1362"/>
          <ac:picMkLst>
            <pc:docMk/>
            <pc:sldMk cId="2430398786" sldId="369"/>
            <ac:picMk id="277" creationId="{E8C9BC51-B262-F37C-6507-B71147C1723B}"/>
          </ac:picMkLst>
        </pc:picChg>
      </pc:sldChg>
      <pc:sldChg chg="addSp delSp modSp mod">
        <pc:chgData name="Nick Smith" userId="3e9c3b50-9271-4795-bb2e-6e49460c52cb" providerId="ADAL" clId="{680DC1A9-7C82-4CAF-9A8A-860BA4CA5A92}" dt="2026-03-04T13:52:51.913" v="1044" actId="113"/>
        <pc:sldMkLst>
          <pc:docMk/>
          <pc:sldMk cId="825480293" sldId="370"/>
        </pc:sldMkLst>
        <pc:spChg chg="mod">
          <ac:chgData name="Nick Smith" userId="3e9c3b50-9271-4795-bb2e-6e49460c52cb" providerId="ADAL" clId="{680DC1A9-7C82-4CAF-9A8A-860BA4CA5A92}" dt="2026-03-04T13:43:08.728" v="741" actId="1076"/>
          <ac:spMkLst>
            <pc:docMk/>
            <pc:sldMk cId="825480293" sldId="370"/>
            <ac:spMk id="3" creationId="{89EB8C06-180F-1F05-5B3B-A9128585785F}"/>
          </ac:spMkLst>
        </pc:spChg>
        <pc:spChg chg="mod">
          <ac:chgData name="Nick Smith" userId="3e9c3b50-9271-4795-bb2e-6e49460c52cb" providerId="ADAL" clId="{680DC1A9-7C82-4CAF-9A8A-860BA4CA5A92}" dt="2026-03-04T13:43:08.728" v="741" actId="1076"/>
          <ac:spMkLst>
            <pc:docMk/>
            <pc:sldMk cId="825480293" sldId="370"/>
            <ac:spMk id="4" creationId="{3DC2ACF0-063F-E776-52CF-01DB6DEB69DA}"/>
          </ac:spMkLst>
        </pc:spChg>
        <pc:spChg chg="mod">
          <ac:chgData name="Nick Smith" userId="3e9c3b50-9271-4795-bb2e-6e49460c52cb" providerId="ADAL" clId="{680DC1A9-7C82-4CAF-9A8A-860BA4CA5A92}" dt="2026-03-04T13:43:20.824" v="770" actId="1076"/>
          <ac:spMkLst>
            <pc:docMk/>
            <pc:sldMk cId="825480293" sldId="370"/>
            <ac:spMk id="14" creationId="{D5B2C903-74A0-76CD-CACF-A1C453615A3C}"/>
          </ac:spMkLst>
        </pc:spChg>
        <pc:spChg chg="mod">
          <ac:chgData name="Nick Smith" userId="3e9c3b50-9271-4795-bb2e-6e49460c52cb" providerId="ADAL" clId="{680DC1A9-7C82-4CAF-9A8A-860BA4CA5A92}" dt="2026-03-04T13:43:08.728" v="741" actId="1076"/>
          <ac:spMkLst>
            <pc:docMk/>
            <pc:sldMk cId="825480293" sldId="370"/>
            <ac:spMk id="16" creationId="{E7472A0D-0159-7E32-0EA6-246010752832}"/>
          </ac:spMkLst>
        </pc:spChg>
        <pc:spChg chg="mod">
          <ac:chgData name="Nick Smith" userId="3e9c3b50-9271-4795-bb2e-6e49460c52cb" providerId="ADAL" clId="{680DC1A9-7C82-4CAF-9A8A-860BA4CA5A92}" dt="2026-03-04T13:52:51.913" v="1044" actId="113"/>
          <ac:spMkLst>
            <pc:docMk/>
            <pc:sldMk cId="825480293" sldId="370"/>
            <ac:spMk id="20" creationId="{34CFC359-6FA6-EB7E-E042-DFDC0D2703CE}"/>
          </ac:spMkLst>
        </pc:spChg>
        <pc:spChg chg="mod">
          <ac:chgData name="Nick Smith" userId="3e9c3b50-9271-4795-bb2e-6e49460c52cb" providerId="ADAL" clId="{680DC1A9-7C82-4CAF-9A8A-860BA4CA5A92}" dt="2026-03-04T13:43:03.078" v="740" actId="21"/>
          <ac:spMkLst>
            <pc:docMk/>
            <pc:sldMk cId="825480293" sldId="370"/>
            <ac:spMk id="21" creationId="{80D90604-D07A-07C5-F64A-A30338551C65}"/>
          </ac:spMkLst>
        </pc:spChg>
        <pc:spChg chg="mod">
          <ac:chgData name="Nick Smith" userId="3e9c3b50-9271-4795-bb2e-6e49460c52cb" providerId="ADAL" clId="{680DC1A9-7C82-4CAF-9A8A-860BA4CA5A92}" dt="2026-03-04T13:43:18.510" v="769" actId="1035"/>
          <ac:spMkLst>
            <pc:docMk/>
            <pc:sldMk cId="825480293" sldId="370"/>
            <ac:spMk id="290" creationId="{AC34F4E8-61F4-7C75-F3FC-E48E4093AFD1}"/>
          </ac:spMkLst>
        </pc:spChg>
        <pc:spChg chg="mod">
          <ac:chgData name="Nick Smith" userId="3e9c3b50-9271-4795-bb2e-6e49460c52cb" providerId="ADAL" clId="{680DC1A9-7C82-4CAF-9A8A-860BA4CA5A92}" dt="2026-03-04T13:38:30.532" v="644" actId="1076"/>
          <ac:spMkLst>
            <pc:docMk/>
            <pc:sldMk cId="825480293" sldId="370"/>
            <ac:spMk id="304" creationId="{6EC924E9-BAD1-5C0E-8F85-A60E4EA4525C}"/>
          </ac:spMkLst>
        </pc:spChg>
        <pc:spChg chg="add mod">
          <ac:chgData name="Nick Smith" userId="3e9c3b50-9271-4795-bb2e-6e49460c52cb" providerId="ADAL" clId="{680DC1A9-7C82-4CAF-9A8A-860BA4CA5A92}" dt="2026-03-04T12:53:22.224" v="163" actId="1076"/>
          <ac:spMkLst>
            <pc:docMk/>
            <pc:sldMk cId="825480293" sldId="370"/>
            <ac:spMk id="309" creationId="{2F4A5B24-C737-7D0F-078B-D115179D054D}"/>
          </ac:spMkLst>
        </pc:spChg>
        <pc:spChg chg="add mod">
          <ac:chgData name="Nick Smith" userId="3e9c3b50-9271-4795-bb2e-6e49460c52cb" providerId="ADAL" clId="{680DC1A9-7C82-4CAF-9A8A-860BA4CA5A92}" dt="2026-03-04T13:43:18.510" v="769" actId="1035"/>
          <ac:spMkLst>
            <pc:docMk/>
            <pc:sldMk cId="825480293" sldId="370"/>
            <ac:spMk id="311" creationId="{65A6452D-B882-AE6F-587E-B66ED46C8AF4}"/>
          </ac:spMkLst>
        </pc:spChg>
        <pc:spChg chg="add mod">
          <ac:chgData name="Nick Smith" userId="3e9c3b50-9271-4795-bb2e-6e49460c52cb" providerId="ADAL" clId="{680DC1A9-7C82-4CAF-9A8A-860BA4CA5A92}" dt="2026-03-04T13:43:18.510" v="769" actId="1035"/>
          <ac:spMkLst>
            <pc:docMk/>
            <pc:sldMk cId="825480293" sldId="370"/>
            <ac:spMk id="313" creationId="{DF35306E-BD31-6DC6-F111-07A93CE393FF}"/>
          </ac:spMkLst>
        </pc:spChg>
        <pc:spChg chg="add mod">
          <ac:chgData name="Nick Smith" userId="3e9c3b50-9271-4795-bb2e-6e49460c52cb" providerId="ADAL" clId="{680DC1A9-7C82-4CAF-9A8A-860BA4CA5A92}" dt="2026-03-04T13:43:18.510" v="769" actId="1035"/>
          <ac:spMkLst>
            <pc:docMk/>
            <pc:sldMk cId="825480293" sldId="370"/>
            <ac:spMk id="315" creationId="{48E111FA-4EDD-1EF4-56C2-A3EF8D3049E4}"/>
          </ac:spMkLst>
        </pc:spChg>
        <pc:spChg chg="add mod">
          <ac:chgData name="Nick Smith" userId="3e9c3b50-9271-4795-bb2e-6e49460c52cb" providerId="ADAL" clId="{680DC1A9-7C82-4CAF-9A8A-860BA4CA5A92}" dt="2026-03-04T13:05:22.878" v="311" actId="208"/>
          <ac:spMkLst>
            <pc:docMk/>
            <pc:sldMk cId="825480293" sldId="370"/>
            <ac:spMk id="317" creationId="{A906DFBD-376C-45FF-DF8E-1E443921D9DB}"/>
          </ac:spMkLst>
        </pc:spChg>
        <pc:spChg chg="add mod">
          <ac:chgData name="Nick Smith" userId="3e9c3b50-9271-4795-bb2e-6e49460c52cb" providerId="ADAL" clId="{680DC1A9-7C82-4CAF-9A8A-860BA4CA5A92}" dt="2026-03-04T13:43:18.510" v="769" actId="1035"/>
          <ac:spMkLst>
            <pc:docMk/>
            <pc:sldMk cId="825480293" sldId="370"/>
            <ac:spMk id="323" creationId="{90468787-8C68-7052-D090-093C8B836E59}"/>
          </ac:spMkLst>
        </pc:spChg>
        <pc:spChg chg="mod">
          <ac:chgData name="Nick Smith" userId="3e9c3b50-9271-4795-bb2e-6e49460c52cb" providerId="ADAL" clId="{680DC1A9-7C82-4CAF-9A8A-860BA4CA5A92}" dt="2026-03-04T13:43:08.728" v="741" actId="1076"/>
          <ac:spMkLst>
            <pc:docMk/>
            <pc:sldMk cId="825480293" sldId="370"/>
            <ac:spMk id="327" creationId="{6B3E50F5-9185-9959-517B-1B5B1CC42A21}"/>
          </ac:spMkLst>
        </pc:spChg>
        <pc:spChg chg="add mod">
          <ac:chgData name="Nick Smith" userId="3e9c3b50-9271-4795-bb2e-6e49460c52cb" providerId="ADAL" clId="{680DC1A9-7C82-4CAF-9A8A-860BA4CA5A92}" dt="2026-03-04T13:37:30.142" v="637" actId="1076"/>
          <ac:spMkLst>
            <pc:docMk/>
            <pc:sldMk cId="825480293" sldId="370"/>
            <ac:spMk id="362" creationId="{6E9083DF-CB47-DA70-FD0A-6C9A545CB9A4}"/>
          </ac:spMkLst>
        </pc:spChg>
        <pc:spChg chg="add mod">
          <ac:chgData name="Nick Smith" userId="3e9c3b50-9271-4795-bb2e-6e49460c52cb" providerId="ADAL" clId="{680DC1A9-7C82-4CAF-9A8A-860BA4CA5A92}" dt="2026-03-04T13:43:18.510" v="769" actId="1035"/>
          <ac:spMkLst>
            <pc:docMk/>
            <pc:sldMk cId="825480293" sldId="370"/>
            <ac:spMk id="363" creationId="{3AA55660-B405-435D-9B0A-78F1FA79E96E}"/>
          </ac:spMkLst>
        </pc:spChg>
        <pc:spChg chg="add mod">
          <ac:chgData name="Nick Smith" userId="3e9c3b50-9271-4795-bb2e-6e49460c52cb" providerId="ADAL" clId="{680DC1A9-7C82-4CAF-9A8A-860BA4CA5A92}" dt="2026-03-04T13:43:18.510" v="769" actId="1035"/>
          <ac:spMkLst>
            <pc:docMk/>
            <pc:sldMk cId="825480293" sldId="370"/>
            <ac:spMk id="364" creationId="{4CD05079-D93A-E15E-FAE8-3412A337456B}"/>
          </ac:spMkLst>
        </pc:spChg>
        <pc:spChg chg="add mod">
          <ac:chgData name="Nick Smith" userId="3e9c3b50-9271-4795-bb2e-6e49460c52cb" providerId="ADAL" clId="{680DC1A9-7C82-4CAF-9A8A-860BA4CA5A92}" dt="2026-03-04T13:43:18.510" v="769" actId="1035"/>
          <ac:spMkLst>
            <pc:docMk/>
            <pc:sldMk cId="825480293" sldId="370"/>
            <ac:spMk id="365" creationId="{1CD7BC03-AF90-BCCD-415C-06BDF52134BB}"/>
          </ac:spMkLst>
        </pc:spChg>
        <pc:spChg chg="add mod">
          <ac:chgData name="Nick Smith" userId="3e9c3b50-9271-4795-bb2e-6e49460c52cb" providerId="ADAL" clId="{680DC1A9-7C82-4CAF-9A8A-860BA4CA5A92}" dt="2026-03-04T13:43:18.510" v="769" actId="1035"/>
          <ac:spMkLst>
            <pc:docMk/>
            <pc:sldMk cId="825480293" sldId="370"/>
            <ac:spMk id="366" creationId="{A564AB44-6EAA-1067-A1CD-45FC4C4EC079}"/>
          </ac:spMkLst>
        </pc:spChg>
        <pc:spChg chg="add mod">
          <ac:chgData name="Nick Smith" userId="3e9c3b50-9271-4795-bb2e-6e49460c52cb" providerId="ADAL" clId="{680DC1A9-7C82-4CAF-9A8A-860BA4CA5A92}" dt="2026-03-04T13:40:55.667" v="719" actId="1036"/>
          <ac:spMkLst>
            <pc:docMk/>
            <pc:sldMk cId="825480293" sldId="370"/>
            <ac:spMk id="367" creationId="{7E473D84-9A8A-C1C6-773D-8F1FA3703E86}"/>
          </ac:spMkLst>
        </pc:spChg>
        <pc:grpChg chg="mod">
          <ac:chgData name="Nick Smith" userId="3e9c3b50-9271-4795-bb2e-6e49460c52cb" providerId="ADAL" clId="{680DC1A9-7C82-4CAF-9A8A-860BA4CA5A92}" dt="2026-03-04T12:58:22.876" v="213" actId="207"/>
          <ac:grpSpMkLst>
            <pc:docMk/>
            <pc:sldMk cId="825480293" sldId="370"/>
            <ac:grpSpMk id="230" creationId="{83032C67-D29A-9305-C811-7EA9276C02B0}"/>
          </ac:grpSpMkLst>
        </pc:grpChg>
        <pc:grpChg chg="mod">
          <ac:chgData name="Nick Smith" userId="3e9c3b50-9271-4795-bb2e-6e49460c52cb" providerId="ADAL" clId="{680DC1A9-7C82-4CAF-9A8A-860BA4CA5A92}" dt="2026-03-04T12:58:22.876" v="213" actId="207"/>
          <ac:grpSpMkLst>
            <pc:docMk/>
            <pc:sldMk cId="825480293" sldId="370"/>
            <ac:grpSpMk id="233" creationId="{79D6F82B-2C7D-E177-EC0D-76A8BC7FF503}"/>
          </ac:grpSpMkLst>
        </pc:grpChg>
        <pc:grpChg chg="mod">
          <ac:chgData name="Nick Smith" userId="3e9c3b50-9271-4795-bb2e-6e49460c52cb" providerId="ADAL" clId="{680DC1A9-7C82-4CAF-9A8A-860BA4CA5A92}" dt="2026-03-04T12:58:22.876" v="213" actId="207"/>
          <ac:grpSpMkLst>
            <pc:docMk/>
            <pc:sldMk cId="825480293" sldId="370"/>
            <ac:grpSpMk id="236" creationId="{C201976F-C345-E7CA-5003-69E1CAD25D34}"/>
          </ac:grpSpMkLst>
        </pc:grpChg>
        <pc:grpChg chg="mod">
          <ac:chgData name="Nick Smith" userId="3e9c3b50-9271-4795-bb2e-6e49460c52cb" providerId="ADAL" clId="{680DC1A9-7C82-4CAF-9A8A-860BA4CA5A92}" dt="2026-03-04T13:03:57.005" v="299" actId="1362"/>
          <ac:grpSpMkLst>
            <pc:docMk/>
            <pc:sldMk cId="825480293" sldId="370"/>
            <ac:grpSpMk id="247" creationId="{B2667CA9-E16E-C0E9-14A2-83F5C03D6185}"/>
          </ac:grpSpMkLst>
        </pc:grpChg>
        <pc:grpChg chg="mod">
          <ac:chgData name="Nick Smith" userId="3e9c3b50-9271-4795-bb2e-6e49460c52cb" providerId="ADAL" clId="{680DC1A9-7C82-4CAF-9A8A-860BA4CA5A92}" dt="2026-03-04T13:04:07.569" v="300" actId="1362"/>
          <ac:grpSpMkLst>
            <pc:docMk/>
            <pc:sldMk cId="825480293" sldId="370"/>
            <ac:grpSpMk id="259" creationId="{A63D3224-A7D6-4D00-FA8A-288CCF1A75D8}"/>
          </ac:grpSpMkLst>
        </pc:grpChg>
        <pc:grpChg chg="mod">
          <ac:chgData name="Nick Smith" userId="3e9c3b50-9271-4795-bb2e-6e49460c52cb" providerId="ADAL" clId="{680DC1A9-7C82-4CAF-9A8A-860BA4CA5A92}" dt="2026-03-04T12:58:22.876" v="213" actId="207"/>
          <ac:grpSpMkLst>
            <pc:docMk/>
            <pc:sldMk cId="825480293" sldId="370"/>
            <ac:grpSpMk id="262" creationId="{77CA5D19-C03C-ED61-CB55-5E44DE9C2282}"/>
          </ac:grpSpMkLst>
        </pc:grpChg>
        <pc:grpChg chg="mod">
          <ac:chgData name="Nick Smith" userId="3e9c3b50-9271-4795-bb2e-6e49460c52cb" providerId="ADAL" clId="{680DC1A9-7C82-4CAF-9A8A-860BA4CA5A92}" dt="2026-03-04T12:58:22.876" v="213" actId="207"/>
          <ac:grpSpMkLst>
            <pc:docMk/>
            <pc:sldMk cId="825480293" sldId="370"/>
            <ac:grpSpMk id="265" creationId="{68FB9654-5F74-4CFC-1EAF-9EC819A7436D}"/>
          </ac:grpSpMkLst>
        </pc:grpChg>
        <pc:grpChg chg="mod">
          <ac:chgData name="Nick Smith" userId="3e9c3b50-9271-4795-bb2e-6e49460c52cb" providerId="ADAL" clId="{680DC1A9-7C82-4CAF-9A8A-860BA4CA5A92}" dt="2026-03-04T13:04:07.569" v="300" actId="1362"/>
          <ac:grpSpMkLst>
            <pc:docMk/>
            <pc:sldMk cId="825480293" sldId="370"/>
            <ac:grpSpMk id="276" creationId="{A5A93C73-4068-331B-C946-4E2272D57FEA}"/>
          </ac:grpSpMkLst>
        </pc:grpChg>
        <pc:picChg chg="mod">
          <ac:chgData name="Nick Smith" userId="3e9c3b50-9271-4795-bb2e-6e49460c52cb" providerId="ADAL" clId="{680DC1A9-7C82-4CAF-9A8A-860BA4CA5A92}" dt="2026-03-04T13:43:08.728" v="741" actId="1076"/>
          <ac:picMkLst>
            <pc:docMk/>
            <pc:sldMk cId="825480293" sldId="370"/>
            <ac:picMk id="7" creationId="{B93A14D0-3AF5-E978-43E5-EBC8A412B3B0}"/>
          </ac:picMkLst>
        </pc:picChg>
        <pc:picChg chg="mod">
          <ac:chgData name="Nick Smith" userId="3e9c3b50-9271-4795-bb2e-6e49460c52cb" providerId="ADAL" clId="{680DC1A9-7C82-4CAF-9A8A-860BA4CA5A92}" dt="2026-03-04T13:43:08.728" v="741" actId="1076"/>
          <ac:picMkLst>
            <pc:docMk/>
            <pc:sldMk cId="825480293" sldId="370"/>
            <ac:picMk id="10" creationId="{9CBD3FEB-A297-FFF2-E84B-80F3F6D269E8}"/>
          </ac:picMkLst>
        </pc:picChg>
        <pc:picChg chg="mod">
          <ac:chgData name="Nick Smith" userId="3e9c3b50-9271-4795-bb2e-6e49460c52cb" providerId="ADAL" clId="{680DC1A9-7C82-4CAF-9A8A-860BA4CA5A92}" dt="2026-03-04T13:03:57.005" v="299" actId="1362"/>
          <ac:picMkLst>
            <pc:docMk/>
            <pc:sldMk cId="825480293" sldId="370"/>
            <ac:picMk id="221" creationId="{722E540F-116A-271D-118C-8BE6F3277A72}"/>
          </ac:picMkLst>
        </pc:picChg>
        <pc:picChg chg="mod">
          <ac:chgData name="Nick Smith" userId="3e9c3b50-9271-4795-bb2e-6e49460c52cb" providerId="ADAL" clId="{680DC1A9-7C82-4CAF-9A8A-860BA4CA5A92}" dt="2026-03-04T13:03:57.005" v="299" actId="1362"/>
          <ac:picMkLst>
            <pc:docMk/>
            <pc:sldMk cId="825480293" sldId="370"/>
            <ac:picMk id="223" creationId="{E8621BFC-5127-763D-844F-1586253792BA}"/>
          </ac:picMkLst>
        </pc:picChg>
        <pc:picChg chg="mod">
          <ac:chgData name="Nick Smith" userId="3e9c3b50-9271-4795-bb2e-6e49460c52cb" providerId="ADAL" clId="{680DC1A9-7C82-4CAF-9A8A-860BA4CA5A92}" dt="2026-03-04T13:03:57.005" v="299" actId="1362"/>
          <ac:picMkLst>
            <pc:docMk/>
            <pc:sldMk cId="825480293" sldId="370"/>
            <ac:picMk id="224" creationId="{B1EB4A7E-CAA1-A85E-5DEC-A7DCFCE4E6DD}"/>
          </ac:picMkLst>
        </pc:picChg>
        <pc:picChg chg="mod">
          <ac:chgData name="Nick Smith" userId="3e9c3b50-9271-4795-bb2e-6e49460c52cb" providerId="ADAL" clId="{680DC1A9-7C82-4CAF-9A8A-860BA4CA5A92}" dt="2026-03-04T13:03:57.005" v="299" actId="1362"/>
          <ac:picMkLst>
            <pc:docMk/>
            <pc:sldMk cId="825480293" sldId="370"/>
            <ac:picMk id="225" creationId="{8B86ACA7-179D-B875-D258-FFF81C3FFFFB}"/>
          </ac:picMkLst>
        </pc:picChg>
        <pc:picChg chg="mod">
          <ac:chgData name="Nick Smith" userId="3e9c3b50-9271-4795-bb2e-6e49460c52cb" providerId="ADAL" clId="{680DC1A9-7C82-4CAF-9A8A-860BA4CA5A92}" dt="2026-03-04T13:03:57.005" v="299" actId="1362"/>
          <ac:picMkLst>
            <pc:docMk/>
            <pc:sldMk cId="825480293" sldId="370"/>
            <ac:picMk id="226" creationId="{F0D884D1-DD36-4034-8F81-276F528E9A26}"/>
          </ac:picMkLst>
        </pc:picChg>
        <pc:picChg chg="mod">
          <ac:chgData name="Nick Smith" userId="3e9c3b50-9271-4795-bb2e-6e49460c52cb" providerId="ADAL" clId="{680DC1A9-7C82-4CAF-9A8A-860BA4CA5A92}" dt="2026-03-04T13:03:57.005" v="299" actId="1362"/>
          <ac:picMkLst>
            <pc:docMk/>
            <pc:sldMk cId="825480293" sldId="370"/>
            <ac:picMk id="227" creationId="{CD552B0D-CFB8-FF0A-AB98-827F3E8007D0}"/>
          </ac:picMkLst>
        </pc:picChg>
        <pc:picChg chg="mod">
          <ac:chgData name="Nick Smith" userId="3e9c3b50-9271-4795-bb2e-6e49460c52cb" providerId="ADAL" clId="{680DC1A9-7C82-4CAF-9A8A-860BA4CA5A92}" dt="2026-03-04T13:03:57.005" v="299" actId="1362"/>
          <ac:picMkLst>
            <pc:docMk/>
            <pc:sldMk cId="825480293" sldId="370"/>
            <ac:picMk id="228" creationId="{8FD99FA4-5C70-0D39-641D-FEB8601DAC0A}"/>
          </ac:picMkLst>
        </pc:picChg>
        <pc:picChg chg="mod">
          <ac:chgData name="Nick Smith" userId="3e9c3b50-9271-4795-bb2e-6e49460c52cb" providerId="ADAL" clId="{680DC1A9-7C82-4CAF-9A8A-860BA4CA5A92}" dt="2026-03-04T13:03:57.005" v="299" actId="1362"/>
          <ac:picMkLst>
            <pc:docMk/>
            <pc:sldMk cId="825480293" sldId="370"/>
            <ac:picMk id="229" creationId="{B3F46F2F-2EA9-1344-98EE-D0314E4F3220}"/>
          </ac:picMkLst>
        </pc:picChg>
        <pc:picChg chg="mod">
          <ac:chgData name="Nick Smith" userId="3e9c3b50-9271-4795-bb2e-6e49460c52cb" providerId="ADAL" clId="{680DC1A9-7C82-4CAF-9A8A-860BA4CA5A92}" dt="2026-03-04T13:03:57.005" v="299" actId="1362"/>
          <ac:picMkLst>
            <pc:docMk/>
            <pc:sldMk cId="825480293" sldId="370"/>
            <ac:picMk id="258" creationId="{047542FB-4A4B-B180-5B1E-2BDC670BD12C}"/>
          </ac:picMkLst>
        </pc:picChg>
        <pc:picChg chg="mod">
          <ac:chgData name="Nick Smith" userId="3e9c3b50-9271-4795-bb2e-6e49460c52cb" providerId="ADAL" clId="{680DC1A9-7C82-4CAF-9A8A-860BA4CA5A92}" dt="2026-03-04T12:53:14.652" v="161" actId="1076"/>
          <ac:picMkLst>
            <pc:docMk/>
            <pc:sldMk cId="825480293" sldId="370"/>
            <ac:picMk id="283" creationId="{E3B73803-F453-D9ED-6F67-045D52B2AD1F}"/>
          </ac:picMkLst>
        </pc:picChg>
        <pc:picChg chg="add del mod">
          <ac:chgData name="Nick Smith" userId="3e9c3b50-9271-4795-bb2e-6e49460c52cb" providerId="ADAL" clId="{680DC1A9-7C82-4CAF-9A8A-860BA4CA5A92}" dt="2026-03-04T13:03:12.518" v="278" actId="478"/>
          <ac:picMkLst>
            <pc:docMk/>
            <pc:sldMk cId="825480293" sldId="370"/>
            <ac:picMk id="287" creationId="{ECD4B6A0-91CC-506F-37BD-4727AF051155}"/>
          </ac:picMkLst>
        </pc:picChg>
        <pc:picChg chg="mod">
          <ac:chgData name="Nick Smith" userId="3e9c3b50-9271-4795-bb2e-6e49460c52cb" providerId="ADAL" clId="{680DC1A9-7C82-4CAF-9A8A-860BA4CA5A92}" dt="2026-03-04T13:03:47.488" v="297" actId="1362"/>
          <ac:picMkLst>
            <pc:docMk/>
            <pc:sldMk cId="825480293" sldId="370"/>
            <ac:picMk id="288" creationId="{EE1E0863-CED4-3030-1407-91AD53B55E59}"/>
          </ac:picMkLst>
        </pc:picChg>
        <pc:picChg chg="mod">
          <ac:chgData name="Nick Smith" userId="3e9c3b50-9271-4795-bb2e-6e49460c52cb" providerId="ADAL" clId="{680DC1A9-7C82-4CAF-9A8A-860BA4CA5A92}" dt="2026-03-04T13:03:50.009" v="298" actId="1362"/>
          <ac:picMkLst>
            <pc:docMk/>
            <pc:sldMk cId="825480293" sldId="370"/>
            <ac:picMk id="289" creationId="{15C1A32A-604D-BD3F-457C-CD43513186CE}"/>
          </ac:picMkLst>
        </pc:picChg>
        <pc:picChg chg="add mod">
          <ac:chgData name="Nick Smith" userId="3e9c3b50-9271-4795-bb2e-6e49460c52cb" providerId="ADAL" clId="{680DC1A9-7C82-4CAF-9A8A-860BA4CA5A92}" dt="2026-03-04T12:53:22.224" v="163" actId="1076"/>
          <ac:picMkLst>
            <pc:docMk/>
            <pc:sldMk cId="825480293" sldId="370"/>
            <ac:picMk id="322" creationId="{8061DEAC-87AB-4C66-A040-A9191C26B1D7}"/>
          </ac:picMkLst>
        </pc:picChg>
        <pc:cxnChg chg="mod ord">
          <ac:chgData name="Nick Smith" userId="3e9c3b50-9271-4795-bb2e-6e49460c52cb" providerId="ADAL" clId="{680DC1A9-7C82-4CAF-9A8A-860BA4CA5A92}" dt="2026-03-04T13:38:08.157" v="641" actId="166"/>
          <ac:cxnSpMkLst>
            <pc:docMk/>
            <pc:sldMk cId="825480293" sldId="370"/>
            <ac:cxnSpMk id="312" creationId="{EFC77363-CC5B-2F29-3724-BC1AA9B4CB32}"/>
          </ac:cxnSpMkLst>
        </pc:cxnChg>
        <pc:cxnChg chg="mod">
          <ac:chgData name="Nick Smith" userId="3e9c3b50-9271-4795-bb2e-6e49460c52cb" providerId="ADAL" clId="{680DC1A9-7C82-4CAF-9A8A-860BA4CA5A92}" dt="2026-03-04T13:26:35.702" v="454" actId="1582"/>
          <ac:cxnSpMkLst>
            <pc:docMk/>
            <pc:sldMk cId="825480293" sldId="370"/>
            <ac:cxnSpMk id="314" creationId="{95F02B97-9ED9-F59F-B2AA-1FC942C5B5D1}"/>
          </ac:cxnSpMkLst>
        </pc:cxnChg>
        <pc:cxnChg chg="mod">
          <ac:chgData name="Nick Smith" userId="3e9c3b50-9271-4795-bb2e-6e49460c52cb" providerId="ADAL" clId="{680DC1A9-7C82-4CAF-9A8A-860BA4CA5A92}" dt="2026-03-04T13:26:35.702" v="454" actId="1582"/>
          <ac:cxnSpMkLst>
            <pc:docMk/>
            <pc:sldMk cId="825480293" sldId="370"/>
            <ac:cxnSpMk id="318" creationId="{8AE700FE-5C92-09DF-E704-CEE4D8A40F41}"/>
          </ac:cxnSpMkLst>
        </pc:cxnChg>
        <pc:cxnChg chg="mod ord">
          <ac:chgData name="Nick Smith" userId="3e9c3b50-9271-4795-bb2e-6e49460c52cb" providerId="ADAL" clId="{680DC1A9-7C82-4CAF-9A8A-860BA4CA5A92}" dt="2026-03-04T13:26:35.702" v="454" actId="1582"/>
          <ac:cxnSpMkLst>
            <pc:docMk/>
            <pc:sldMk cId="825480293" sldId="370"/>
            <ac:cxnSpMk id="328" creationId="{2C77E0BF-1724-5FA9-6149-533BC3F3998A}"/>
          </ac:cxnSpMkLst>
        </pc:cxnChg>
      </pc:sldChg>
      <pc:sldChg chg="addSp modSp mod">
        <pc:chgData name="Nick Smith" userId="3e9c3b50-9271-4795-bb2e-6e49460c52cb" providerId="ADAL" clId="{680DC1A9-7C82-4CAF-9A8A-860BA4CA5A92}" dt="2026-03-04T13:54:25.631" v="1057" actId="1076"/>
        <pc:sldMkLst>
          <pc:docMk/>
          <pc:sldMk cId="2332189274" sldId="373"/>
        </pc:sldMkLst>
        <pc:spChg chg="add mod">
          <ac:chgData name="Nick Smith" userId="3e9c3b50-9271-4795-bb2e-6e49460c52cb" providerId="ADAL" clId="{680DC1A9-7C82-4CAF-9A8A-860BA4CA5A92}" dt="2026-03-04T13:54:24.141" v="1056" actId="1076"/>
          <ac:spMkLst>
            <pc:docMk/>
            <pc:sldMk cId="2332189274" sldId="373"/>
            <ac:spMk id="369" creationId="{30083BA8-45E8-59A8-B054-AB61B5A38D28}"/>
          </ac:spMkLst>
        </pc:spChg>
        <pc:picChg chg="mod">
          <ac:chgData name="Nick Smith" userId="3e9c3b50-9271-4795-bb2e-6e49460c52cb" providerId="ADAL" clId="{680DC1A9-7C82-4CAF-9A8A-860BA4CA5A92}" dt="2026-03-04T13:54:25.631" v="1057" actId="1076"/>
          <ac:picMkLst>
            <pc:docMk/>
            <pc:sldMk cId="2332189274" sldId="373"/>
            <ac:picMk id="5" creationId="{5FD27CAB-23E9-0C05-62D3-693D150960BC}"/>
          </ac:picMkLst>
        </pc:picChg>
      </pc:sldChg>
    </pc:docChg>
  </pc:docChgLst>
  <pc:docChgLst>
    <pc:chgData name="Jonny Sadler" userId="S::jonny.sadler@neso.energy::881ad431-a04f-46e2-a3bb-034e69a3425f" providerId="AD" clId="Web-{74E27C7E-9885-5239-8139-147F4C3A3882}"/>
    <pc:docChg chg="modSld">
      <pc:chgData name="Jonny Sadler" userId="S::jonny.sadler@neso.energy::881ad431-a04f-46e2-a3bb-034e69a3425f" providerId="AD" clId="Web-{74E27C7E-9885-5239-8139-147F4C3A3882}" dt="2026-03-06T09:41:35.777" v="9" actId="20577"/>
      <pc:docMkLst>
        <pc:docMk/>
      </pc:docMkLst>
      <pc:sldChg chg="modSp">
        <pc:chgData name="Jonny Sadler" userId="S::jonny.sadler@neso.energy::881ad431-a04f-46e2-a3bb-034e69a3425f" providerId="AD" clId="Web-{74E27C7E-9885-5239-8139-147F4C3A3882}" dt="2026-03-06T09:41:35.777" v="9" actId="20577"/>
        <pc:sldMkLst>
          <pc:docMk/>
          <pc:sldMk cId="2981301011" sldId="329"/>
        </pc:sldMkLst>
        <pc:spChg chg="mod">
          <ac:chgData name="Jonny Sadler" userId="S::jonny.sadler@neso.energy::881ad431-a04f-46e2-a3bb-034e69a3425f" providerId="AD" clId="Web-{74E27C7E-9885-5239-8139-147F4C3A3882}" dt="2026-03-06T09:41:35.777" v="9" actId="20577"/>
          <ac:spMkLst>
            <pc:docMk/>
            <pc:sldMk cId="2981301011" sldId="329"/>
            <ac:spMk id="3" creationId="{C22C44F2-239D-553A-8BA3-6C9B6F35EFFF}"/>
          </ac:spMkLst>
        </pc:spChg>
      </pc:sldChg>
    </pc:docChg>
  </pc:docChgLst>
  <pc:docChgLst>
    <pc:chgData name="Nick Smith" userId="S::nick.smith@neso.energy::3e9c3b50-9271-4795-bb2e-6e49460c52cb" providerId="AD" clId="Web-{94CDD40A-4B81-6709-92ED-CF0A084340E0}"/>
    <pc:docChg chg="modSld">
      <pc:chgData name="Nick Smith" userId="S::nick.smith@neso.energy::3e9c3b50-9271-4795-bb2e-6e49460c52cb" providerId="AD" clId="Web-{94CDD40A-4B81-6709-92ED-CF0A084340E0}" dt="2026-03-05T10:09:48.561" v="2" actId="1076"/>
      <pc:docMkLst>
        <pc:docMk/>
      </pc:docMkLst>
      <pc:sldChg chg="modSp">
        <pc:chgData name="Nick Smith" userId="S::nick.smith@neso.energy::3e9c3b50-9271-4795-bb2e-6e49460c52cb" providerId="AD" clId="Web-{94CDD40A-4B81-6709-92ED-CF0A084340E0}" dt="2026-03-05T10:09:48.561" v="2" actId="1076"/>
        <pc:sldMkLst>
          <pc:docMk/>
          <pc:sldMk cId="2430398786" sldId="369"/>
        </pc:sldMkLst>
        <pc:spChg chg="mod">
          <ac:chgData name="Nick Smith" userId="S::nick.smith@neso.energy::3e9c3b50-9271-4795-bb2e-6e49460c52cb" providerId="AD" clId="Web-{94CDD40A-4B81-6709-92ED-CF0A084340E0}" dt="2026-03-05T10:09:48.561" v="2" actId="1076"/>
          <ac:spMkLst>
            <pc:docMk/>
            <pc:sldMk cId="2430398786" sldId="369"/>
            <ac:spMk id="5" creationId="{434C2AA0-48A2-D0B8-C231-3D8FDA6E3073}"/>
          </ac:spMkLst>
        </pc:spChg>
      </pc:sldChg>
    </pc:docChg>
  </pc:docChgLst>
  <pc:docChgLst>
    <pc:chgData name="Gavin Roe-Pearce" userId="S::gavin.pearce@neso.energy::17ef55c5-5c4c-46eb-8129-39657cd1db75" providerId="AD" clId="Web-{574E05DF-E12E-6084-0F3E-FEFDA9790BAB}"/>
    <pc:docChg chg="delSld modSld">
      <pc:chgData name="Gavin Roe-Pearce" userId="S::gavin.pearce@neso.energy::17ef55c5-5c4c-46eb-8129-39657cd1db75" providerId="AD" clId="Web-{574E05DF-E12E-6084-0F3E-FEFDA9790BAB}" dt="2026-03-02T16:28:17.221" v="35" actId="20577"/>
      <pc:docMkLst>
        <pc:docMk/>
      </pc:docMkLst>
      <pc:sldChg chg="modSp">
        <pc:chgData name="Gavin Roe-Pearce" userId="S::gavin.pearce@neso.energy::17ef55c5-5c4c-46eb-8129-39657cd1db75" providerId="AD" clId="Web-{574E05DF-E12E-6084-0F3E-FEFDA9790BAB}" dt="2026-03-02T16:21:03.883" v="21"/>
        <pc:sldMkLst>
          <pc:docMk/>
          <pc:sldMk cId="4198425340" sldId="269"/>
        </pc:sldMkLst>
        <pc:graphicFrameChg chg="mod modGraphic">
          <ac:chgData name="Gavin Roe-Pearce" userId="S::gavin.pearce@neso.energy::17ef55c5-5c4c-46eb-8129-39657cd1db75" providerId="AD" clId="Web-{574E05DF-E12E-6084-0F3E-FEFDA9790BAB}" dt="2026-03-02T16:21:03.883" v="21"/>
          <ac:graphicFrameMkLst>
            <pc:docMk/>
            <pc:sldMk cId="4198425340" sldId="269"/>
            <ac:graphicFrameMk id="25" creationId="{D717FB01-DA4D-AF0B-5593-B5D0FADBFEC3}"/>
          </ac:graphicFrameMkLst>
        </pc:graphicFrameChg>
      </pc:sldChg>
      <pc:sldChg chg="modSp">
        <pc:chgData name="Gavin Roe-Pearce" userId="S::gavin.pearce@neso.energy::17ef55c5-5c4c-46eb-8129-39657cd1db75" providerId="AD" clId="Web-{574E05DF-E12E-6084-0F3E-FEFDA9790BAB}" dt="2026-03-02T16:24:45.628" v="24" actId="20577"/>
        <pc:sldMkLst>
          <pc:docMk/>
          <pc:sldMk cId="2627277250" sldId="368"/>
        </pc:sldMkLst>
        <pc:spChg chg="mod">
          <ac:chgData name="Gavin Roe-Pearce" userId="S::gavin.pearce@neso.energy::17ef55c5-5c4c-46eb-8129-39657cd1db75" providerId="AD" clId="Web-{574E05DF-E12E-6084-0F3E-FEFDA9790BAB}" dt="2026-03-02T16:20:59.523" v="17" actId="20577"/>
          <ac:spMkLst>
            <pc:docMk/>
            <pc:sldMk cId="2627277250" sldId="368"/>
            <ac:spMk id="12" creationId="{D6D579FA-4296-E7BC-6DE3-07CBE8C79A73}"/>
          </ac:spMkLst>
        </pc:spChg>
        <pc:spChg chg="mod">
          <ac:chgData name="Gavin Roe-Pearce" userId="S::gavin.pearce@neso.energy::17ef55c5-5c4c-46eb-8129-39657cd1db75" providerId="AD" clId="Web-{574E05DF-E12E-6084-0F3E-FEFDA9790BAB}" dt="2026-03-02T16:24:45.628" v="24" actId="20577"/>
          <ac:spMkLst>
            <pc:docMk/>
            <pc:sldMk cId="2627277250" sldId="368"/>
            <ac:spMk id="21" creationId="{C2B7A177-4D17-3B84-426E-CC58B2E4DE8E}"/>
          </ac:spMkLst>
        </pc:spChg>
      </pc:sldChg>
    </pc:docChg>
  </pc:docChgLst>
  <pc:docChgLst>
    <pc:chgData name="Nick Smith" userId="3e9c3b50-9271-4795-bb2e-6e49460c52cb" providerId="ADAL" clId="{91A9FD5A-7309-4D44-9A7F-7B5DF51D10AC}"/>
    <pc:docChg chg="modSld sldOrd">
      <pc:chgData name="Nick Smith" userId="3e9c3b50-9271-4795-bb2e-6e49460c52cb" providerId="ADAL" clId="{91A9FD5A-7309-4D44-9A7F-7B5DF51D10AC}" dt="2026-02-24T14:02:28.701" v="1"/>
      <pc:docMkLst>
        <pc:docMk/>
      </pc:docMkLst>
    </pc:docChg>
  </pc:docChgLst>
  <pc:docChgLst>
    <pc:chgData name="Gavin Roe-Pearce" userId="S::gavin.pearce@neso.energy::17ef55c5-5c4c-46eb-8129-39657cd1db75" providerId="AD" clId="Web-{2BC2111A-EB07-288A-AD3E-73A2E915B2E4}"/>
    <pc:docChg chg="addSld delSld modSld sldOrd addMainMaster modMainMaster">
      <pc:chgData name="Gavin Roe-Pearce" userId="S::gavin.pearce@neso.energy::17ef55c5-5c4c-46eb-8129-39657cd1db75" providerId="AD" clId="Web-{2BC2111A-EB07-288A-AD3E-73A2E915B2E4}" dt="2026-03-04T14:51:53.115" v="307" actId="1076"/>
      <pc:docMkLst>
        <pc:docMk/>
      </pc:docMkLst>
      <pc:sldChg chg="add">
        <pc:chgData name="Gavin Roe-Pearce" userId="S::gavin.pearce@neso.energy::17ef55c5-5c4c-46eb-8129-39657cd1db75" providerId="AD" clId="Web-{2BC2111A-EB07-288A-AD3E-73A2E915B2E4}" dt="2026-03-04T14:01:30.035" v="34"/>
        <pc:sldMkLst>
          <pc:docMk/>
          <pc:sldMk cId="2424087312" sldId="287"/>
        </pc:sldMkLst>
      </pc:sldChg>
      <pc:sldChg chg="modSp add">
        <pc:chgData name="Gavin Roe-Pearce" userId="S::gavin.pearce@neso.energy::17ef55c5-5c4c-46eb-8129-39657cd1db75" providerId="AD" clId="Web-{2BC2111A-EB07-288A-AD3E-73A2E915B2E4}" dt="2026-03-04T14:51:11.958" v="296" actId="20577"/>
        <pc:sldMkLst>
          <pc:docMk/>
          <pc:sldMk cId="3605464168" sldId="299"/>
        </pc:sldMkLst>
        <pc:spChg chg="mod">
          <ac:chgData name="Gavin Roe-Pearce" userId="S::gavin.pearce@neso.energy::17ef55c5-5c4c-46eb-8129-39657cd1db75" providerId="AD" clId="Web-{2BC2111A-EB07-288A-AD3E-73A2E915B2E4}" dt="2026-03-04T14:51:11.958" v="296" actId="20577"/>
          <ac:spMkLst>
            <pc:docMk/>
            <pc:sldMk cId="3605464168" sldId="299"/>
            <ac:spMk id="3" creationId="{005D0642-E7BF-CD68-4368-CE106E2B8FC1}"/>
          </ac:spMkLst>
        </pc:spChg>
      </pc:sldChg>
      <pc:sldChg chg="modSp">
        <pc:chgData name="Gavin Roe-Pearce" userId="S::gavin.pearce@neso.energy::17ef55c5-5c4c-46eb-8129-39657cd1db75" providerId="AD" clId="Web-{2BC2111A-EB07-288A-AD3E-73A2E915B2E4}" dt="2026-03-04T14:38:53.150" v="166" actId="20577"/>
        <pc:sldMkLst>
          <pc:docMk/>
          <pc:sldMk cId="2981301011" sldId="329"/>
        </pc:sldMkLst>
        <pc:spChg chg="mod">
          <ac:chgData name="Gavin Roe-Pearce" userId="S::gavin.pearce@neso.energy::17ef55c5-5c4c-46eb-8129-39657cd1db75" providerId="AD" clId="Web-{2BC2111A-EB07-288A-AD3E-73A2E915B2E4}" dt="2026-03-04T14:38:53.150" v="166" actId="20577"/>
          <ac:spMkLst>
            <pc:docMk/>
            <pc:sldMk cId="2981301011" sldId="329"/>
            <ac:spMk id="3" creationId="{C22C44F2-239D-553A-8BA3-6C9B6F35EFFF}"/>
          </ac:spMkLst>
        </pc:spChg>
      </pc:sldChg>
      <pc:sldChg chg="modSp">
        <pc:chgData name="Gavin Roe-Pearce" userId="S::gavin.pearce@neso.energy::17ef55c5-5c4c-46eb-8129-39657cd1db75" providerId="AD" clId="Web-{2BC2111A-EB07-288A-AD3E-73A2E915B2E4}" dt="2026-03-04T14:37:11.689" v="133" actId="20577"/>
        <pc:sldMkLst>
          <pc:docMk/>
          <pc:sldMk cId="3596730289" sldId="340"/>
        </pc:sldMkLst>
        <pc:spChg chg="mod">
          <ac:chgData name="Gavin Roe-Pearce" userId="S::gavin.pearce@neso.energy::17ef55c5-5c4c-46eb-8129-39657cd1db75" providerId="AD" clId="Web-{2BC2111A-EB07-288A-AD3E-73A2E915B2E4}" dt="2026-03-04T14:37:11.689" v="133" actId="20577"/>
          <ac:spMkLst>
            <pc:docMk/>
            <pc:sldMk cId="3596730289" sldId="340"/>
            <ac:spMk id="3" creationId="{984203A6-F804-4043-6B10-7EAA2FE96F15}"/>
          </ac:spMkLst>
        </pc:spChg>
      </pc:sldChg>
      <pc:sldChg chg="modSp">
        <pc:chgData name="Gavin Roe-Pearce" userId="S::gavin.pearce@neso.energy::17ef55c5-5c4c-46eb-8129-39657cd1db75" providerId="AD" clId="Web-{2BC2111A-EB07-288A-AD3E-73A2E915B2E4}" dt="2026-03-04T14:38:07.052" v="153" actId="20577"/>
        <pc:sldMkLst>
          <pc:docMk/>
          <pc:sldMk cId="1856850536" sldId="342"/>
        </pc:sldMkLst>
        <pc:spChg chg="mod">
          <ac:chgData name="Gavin Roe-Pearce" userId="S::gavin.pearce@neso.energy::17ef55c5-5c4c-46eb-8129-39657cd1db75" providerId="AD" clId="Web-{2BC2111A-EB07-288A-AD3E-73A2E915B2E4}" dt="2026-03-04T14:38:07.052" v="153" actId="20577"/>
          <ac:spMkLst>
            <pc:docMk/>
            <pc:sldMk cId="1856850536" sldId="342"/>
            <ac:spMk id="3" creationId="{0FC4318A-6F53-EC37-F234-4C11DC0AEF7C}"/>
          </ac:spMkLst>
        </pc:spChg>
      </pc:sldChg>
      <pc:sldChg chg="modSp">
        <pc:chgData name="Gavin Roe-Pearce" userId="S::gavin.pearce@neso.energy::17ef55c5-5c4c-46eb-8129-39657cd1db75" providerId="AD" clId="Web-{2BC2111A-EB07-288A-AD3E-73A2E915B2E4}" dt="2026-03-04T14:50:48.786" v="283" actId="20577"/>
        <pc:sldMkLst>
          <pc:docMk/>
          <pc:sldMk cId="800943326" sldId="343"/>
        </pc:sldMkLst>
        <pc:spChg chg="mod">
          <ac:chgData name="Gavin Roe-Pearce" userId="S::gavin.pearce@neso.energy::17ef55c5-5c4c-46eb-8129-39657cd1db75" providerId="AD" clId="Web-{2BC2111A-EB07-288A-AD3E-73A2E915B2E4}" dt="2026-03-04T14:50:48.786" v="283" actId="20577"/>
          <ac:spMkLst>
            <pc:docMk/>
            <pc:sldMk cId="800943326" sldId="343"/>
            <ac:spMk id="3" creationId="{AD985BD4-BAEB-1771-4556-B35B8CCA8BC1}"/>
          </ac:spMkLst>
        </pc:spChg>
      </pc:sldChg>
      <pc:sldChg chg="modSp">
        <pc:chgData name="Gavin Roe-Pearce" userId="S::gavin.pearce@neso.energy::17ef55c5-5c4c-46eb-8129-39657cd1db75" providerId="AD" clId="Web-{2BC2111A-EB07-288A-AD3E-73A2E915B2E4}" dt="2026-03-04T14:41:17.129" v="230" actId="20577"/>
        <pc:sldMkLst>
          <pc:docMk/>
          <pc:sldMk cId="1303007122" sldId="347"/>
        </pc:sldMkLst>
        <pc:spChg chg="mod">
          <ac:chgData name="Gavin Roe-Pearce" userId="S::gavin.pearce@neso.energy::17ef55c5-5c4c-46eb-8129-39657cd1db75" providerId="AD" clId="Web-{2BC2111A-EB07-288A-AD3E-73A2E915B2E4}" dt="2026-03-04T14:41:17.129" v="230" actId="20577"/>
          <ac:spMkLst>
            <pc:docMk/>
            <pc:sldMk cId="1303007122" sldId="347"/>
            <ac:spMk id="3" creationId="{0F4B00B1-2B63-9B27-C458-4633C9313F68}"/>
          </ac:spMkLst>
        </pc:spChg>
      </pc:sldChg>
      <pc:sldChg chg="add">
        <pc:chgData name="Gavin Roe-Pearce" userId="S::gavin.pearce@neso.energy::17ef55c5-5c4c-46eb-8129-39657cd1db75" providerId="AD" clId="Web-{2BC2111A-EB07-288A-AD3E-73A2E915B2E4}" dt="2026-03-04T14:01:18.597" v="32"/>
        <pc:sldMkLst>
          <pc:docMk/>
          <pc:sldMk cId="2630374550" sldId="348"/>
        </pc:sldMkLst>
      </pc:sldChg>
      <pc:sldChg chg="modSp add">
        <pc:chgData name="Gavin Roe-Pearce" userId="S::gavin.pearce@neso.energy::17ef55c5-5c4c-46eb-8129-39657cd1db75" providerId="AD" clId="Web-{2BC2111A-EB07-288A-AD3E-73A2E915B2E4}" dt="2026-03-04T14:40:42.502" v="212" actId="20577"/>
        <pc:sldMkLst>
          <pc:docMk/>
          <pc:sldMk cId="1465880742" sldId="353"/>
        </pc:sldMkLst>
        <pc:spChg chg="mod">
          <ac:chgData name="Gavin Roe-Pearce" userId="S::gavin.pearce@neso.energy::17ef55c5-5c4c-46eb-8129-39657cd1db75" providerId="AD" clId="Web-{2BC2111A-EB07-288A-AD3E-73A2E915B2E4}" dt="2026-03-04T14:40:42.502" v="212" actId="20577"/>
          <ac:spMkLst>
            <pc:docMk/>
            <pc:sldMk cId="1465880742" sldId="353"/>
            <ac:spMk id="3" creationId="{A553445D-D88E-E04D-FCEC-C614C9886C0E}"/>
          </ac:spMkLst>
        </pc:spChg>
      </pc:sldChg>
      <pc:sldChg chg="addSp delSp modSp">
        <pc:chgData name="Gavin Roe-Pearce" userId="S::gavin.pearce@neso.energy::17ef55c5-5c4c-46eb-8129-39657cd1db75" providerId="AD" clId="Web-{2BC2111A-EB07-288A-AD3E-73A2E915B2E4}" dt="2026-03-04T14:51:53.115" v="307" actId="1076"/>
        <pc:sldMkLst>
          <pc:docMk/>
          <pc:sldMk cId="2942620178" sldId="365"/>
        </pc:sldMkLst>
        <pc:spChg chg="mod">
          <ac:chgData name="Gavin Roe-Pearce" userId="S::gavin.pearce@neso.energy::17ef55c5-5c4c-46eb-8129-39657cd1db75" providerId="AD" clId="Web-{2BC2111A-EB07-288A-AD3E-73A2E915B2E4}" dt="2026-03-04T14:51:37.474" v="306" actId="20577"/>
          <ac:spMkLst>
            <pc:docMk/>
            <pc:sldMk cId="2942620178" sldId="365"/>
            <ac:spMk id="3" creationId="{163CEB2D-92D5-B275-4D32-EDABFCA919AD}"/>
          </ac:spMkLst>
        </pc:spChg>
        <pc:spChg chg="add mod">
          <ac:chgData name="Gavin Roe-Pearce" userId="S::gavin.pearce@neso.energy::17ef55c5-5c4c-46eb-8129-39657cd1db75" providerId="AD" clId="Web-{2BC2111A-EB07-288A-AD3E-73A2E915B2E4}" dt="2026-03-04T14:51:53.115" v="307" actId="1076"/>
          <ac:spMkLst>
            <pc:docMk/>
            <pc:sldMk cId="2942620178" sldId="365"/>
            <ac:spMk id="6" creationId="{B674371C-3196-9741-E3BC-3C01A87AFC8A}"/>
          </ac:spMkLst>
        </pc:spChg>
      </pc:sldChg>
      <pc:sldChg chg="add ord">
        <pc:chgData name="Gavin Roe-Pearce" userId="S::gavin.pearce@neso.energy::17ef55c5-5c4c-46eb-8129-39657cd1db75" providerId="AD" clId="Web-{2BC2111A-EB07-288A-AD3E-73A2E915B2E4}" dt="2026-03-04T13:59:39.735" v="7"/>
        <pc:sldMkLst>
          <pc:docMk/>
          <pc:sldMk cId="1197002428" sldId="367"/>
        </pc:sldMkLst>
      </pc:sldChg>
      <pc:sldChg chg="add ord">
        <pc:chgData name="Gavin Roe-Pearce" userId="S::gavin.pearce@neso.energy::17ef55c5-5c4c-46eb-8129-39657cd1db75" providerId="AD" clId="Web-{2BC2111A-EB07-288A-AD3E-73A2E915B2E4}" dt="2026-03-04T13:59:30.501" v="5"/>
        <pc:sldMkLst>
          <pc:docMk/>
          <pc:sldMk cId="1677255492" sldId="2147482596"/>
        </pc:sldMkLst>
      </pc:sldChg>
      <pc:sldChg chg="modSp add del">
        <pc:chgData name="Gavin Roe-Pearce" userId="S::gavin.pearce@neso.energy::17ef55c5-5c4c-46eb-8129-39657cd1db75" providerId="AD" clId="Web-{2BC2111A-EB07-288A-AD3E-73A2E915B2E4}" dt="2026-03-04T14:44:45.044" v="235" actId="20577"/>
        <pc:sldMkLst>
          <pc:docMk/>
          <pc:sldMk cId="2935739863" sldId="2147482597"/>
        </pc:sldMkLst>
        <pc:spChg chg="mod">
          <ac:chgData name="Gavin Roe-Pearce" userId="S::gavin.pearce@neso.energy::17ef55c5-5c4c-46eb-8129-39657cd1db75" providerId="AD" clId="Web-{2BC2111A-EB07-288A-AD3E-73A2E915B2E4}" dt="2026-03-04T14:44:45.044" v="235" actId="20577"/>
          <ac:spMkLst>
            <pc:docMk/>
            <pc:sldMk cId="2935739863" sldId="2147482597"/>
            <ac:spMk id="4" creationId="{26E4D9A5-4667-BDE9-F71D-C6812D976361}"/>
          </ac:spMkLst>
        </pc:spChg>
      </pc:sldChg>
      <pc:sldMasterChg chg="modSldLayout">
        <pc:chgData name="Gavin Roe-Pearce" userId="S::gavin.pearce@neso.energy::17ef55c5-5c4c-46eb-8129-39657cd1db75" providerId="AD" clId="Web-{2BC2111A-EB07-288A-AD3E-73A2E915B2E4}" dt="2026-03-04T14:35:00.453" v="69"/>
        <pc:sldMasterMkLst>
          <pc:docMk/>
          <pc:sldMasterMk cId="1575802347" sldId="2147483660"/>
        </pc:sldMasterMkLst>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4197265114" sldId="2147483716"/>
          </pc:sldLayoutMkLst>
        </pc:sldLayoutChg>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1416541343" sldId="2147483717"/>
          </pc:sldLayoutMkLst>
        </pc:sldLayoutChg>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4032048392" sldId="2147483718"/>
          </pc:sldLayoutMkLst>
        </pc:sldLayoutChg>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3808884664" sldId="2147483719"/>
          </pc:sldLayoutMkLst>
        </pc:sldLayoutChg>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1332924244" sldId="2147483720"/>
          </pc:sldLayoutMkLst>
        </pc:sldLayoutChg>
        <pc:sldLayoutChg chg="replId">
          <pc:chgData name="Gavin Roe-Pearce" userId="S::gavin.pearce@neso.energy::17ef55c5-5c4c-46eb-8129-39657cd1db75" providerId="AD" clId="Web-{2BC2111A-EB07-288A-AD3E-73A2E915B2E4}" dt="2026-03-04T14:35:00.453" v="69"/>
          <pc:sldLayoutMkLst>
            <pc:docMk/>
            <pc:sldMasterMk cId="1575802347" sldId="2147483660"/>
            <pc:sldLayoutMk cId="1127700869" sldId="2147483721"/>
          </pc:sldLayoutMkLst>
        </pc:sldLayoutChg>
      </pc:sldMasterChg>
      <pc:sldMasterChg chg="add addSldLayout">
        <pc:chgData name="Gavin Roe-Pearce" userId="S::gavin.pearce@neso.energy::17ef55c5-5c4c-46eb-8129-39657cd1db75" providerId="AD" clId="Web-{2BC2111A-EB07-288A-AD3E-73A2E915B2E4}" dt="2026-03-04T14:35:00.453" v="69"/>
        <pc:sldMasterMkLst>
          <pc:docMk/>
          <pc:sldMasterMk cId="2006463380" sldId="2147483685"/>
        </pc:sldMasterMkLst>
        <pc:sldLayoutChg chg="add">
          <pc:chgData name="Gavin Roe-Pearce" userId="S::gavin.pearce@neso.energy::17ef55c5-5c4c-46eb-8129-39657cd1db75" providerId="AD" clId="Web-{2BC2111A-EB07-288A-AD3E-73A2E915B2E4}" dt="2026-03-04T14:35:00.453" v="69"/>
          <pc:sldLayoutMkLst>
            <pc:docMk/>
            <pc:sldMasterMk cId="2006463380" sldId="2147483685"/>
            <pc:sldLayoutMk cId="3033708169" sldId="2147483686"/>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109450045" sldId="2147483687"/>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943117624" sldId="2147483688"/>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1590405440" sldId="2147483689"/>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369867951" sldId="2147483690"/>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300843135" sldId="2147483691"/>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615960569" sldId="2147483692"/>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895159623" sldId="2147483693"/>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4163315369" sldId="2147483694"/>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905300085" sldId="2147483695"/>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048986438" sldId="2147483696"/>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199950865" sldId="2147483697"/>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28842780" sldId="2147483698"/>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1809278431" sldId="2147483699"/>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1212758516" sldId="2147483700"/>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482182022" sldId="2147483701"/>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1180454567" sldId="2147483702"/>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437581961" sldId="2147483703"/>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758739657" sldId="2147483704"/>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772031918" sldId="2147483705"/>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592723778" sldId="2147483706"/>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814153838" sldId="2147483707"/>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421566379" sldId="2147483708"/>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433603179" sldId="2147483709"/>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650734458" sldId="2147483710"/>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428840983" sldId="2147483711"/>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895906878" sldId="2147483712"/>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3438376188" sldId="2147483713"/>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2218570848" sldId="2147483714"/>
          </pc:sldLayoutMkLst>
        </pc:sldLayoutChg>
        <pc:sldLayoutChg chg="add">
          <pc:chgData name="Gavin Roe-Pearce" userId="S::gavin.pearce@neso.energy::17ef55c5-5c4c-46eb-8129-39657cd1db75" providerId="AD" clId="Web-{2BC2111A-EB07-288A-AD3E-73A2E915B2E4}" dt="2026-03-04T14:35:00.453" v="69"/>
          <pc:sldLayoutMkLst>
            <pc:docMk/>
            <pc:sldMasterMk cId="2006463380" sldId="2147483685"/>
            <pc:sldLayoutMk cId="1377596144" sldId="2147483715"/>
          </pc:sldLayoutMkLst>
        </pc:sldLayoutChg>
      </pc:sldMasterChg>
    </pc:docChg>
  </pc:docChgLst>
  <pc:docChgLst>
    <pc:chgData name="Oscar Bond [MSP]" userId="0936bff8-706c-42c9-9e2f-a74d95c574e4" providerId="ADAL" clId="{5870C415-42A1-4CC1-9F21-07F1FC512FFC}"/>
    <pc:docChg chg="undo custSel addSld delSld modSld sldOrd">
      <pc:chgData name="Oscar Bond [MSP]" userId="0936bff8-706c-42c9-9e2f-a74d95c574e4" providerId="ADAL" clId="{5870C415-42A1-4CC1-9F21-07F1FC512FFC}" dt="2026-03-03T17:03:03.128" v="3074"/>
      <pc:docMkLst>
        <pc:docMk/>
      </pc:docMkLst>
      <pc:sldChg chg="delSp modSp add del mod ord">
        <pc:chgData name="Oscar Bond [MSP]" userId="0936bff8-706c-42c9-9e2f-a74d95c574e4" providerId="ADAL" clId="{5870C415-42A1-4CC1-9F21-07F1FC512FFC}" dt="2026-02-26T15:15:17.835" v="776" actId="2085"/>
        <pc:sldMkLst>
          <pc:docMk/>
          <pc:sldMk cId="4198425340" sldId="269"/>
        </pc:sldMkLst>
        <pc:spChg chg="mod">
          <ac:chgData name="Oscar Bond [MSP]" userId="0936bff8-706c-42c9-9e2f-a74d95c574e4" providerId="ADAL" clId="{5870C415-42A1-4CC1-9F21-07F1FC512FFC}" dt="2026-02-26T15:15:07.644" v="773" actId="1076"/>
          <ac:spMkLst>
            <pc:docMk/>
            <pc:sldMk cId="4198425340" sldId="269"/>
            <ac:spMk id="8" creationId="{459FD799-D064-C982-8DF7-9DE5FEB0F0AD}"/>
          </ac:spMkLst>
        </pc:spChg>
        <pc:spChg chg="mod">
          <ac:chgData name="Oscar Bond [MSP]" userId="0936bff8-706c-42c9-9e2f-a74d95c574e4" providerId="ADAL" clId="{5870C415-42A1-4CC1-9F21-07F1FC512FFC}" dt="2026-02-26T15:15:17.835" v="776" actId="2085"/>
          <ac:spMkLst>
            <pc:docMk/>
            <pc:sldMk cId="4198425340" sldId="269"/>
            <ac:spMk id="21" creationId="{75A76D56-08E0-280E-AB68-3C907A762A8D}"/>
          </ac:spMkLst>
        </pc:spChg>
        <pc:graphicFrameChg chg="mod modGraphic">
          <ac:chgData name="Oscar Bond [MSP]" userId="0936bff8-706c-42c9-9e2f-a74d95c574e4" providerId="ADAL" clId="{5870C415-42A1-4CC1-9F21-07F1FC512FFC}" dt="2026-02-26T15:15:12.923" v="775" actId="14100"/>
          <ac:graphicFrameMkLst>
            <pc:docMk/>
            <pc:sldMk cId="4198425340" sldId="269"/>
            <ac:graphicFrameMk id="25" creationId="{D717FB01-DA4D-AF0B-5593-B5D0FADBFEC3}"/>
          </ac:graphicFrameMkLst>
        </pc:graphicFrameChg>
      </pc:sldChg>
      <pc:sldChg chg="add">
        <pc:chgData name="Oscar Bond [MSP]" userId="0936bff8-706c-42c9-9e2f-a74d95c574e4" providerId="ADAL" clId="{5870C415-42A1-4CC1-9F21-07F1FC512FFC}" dt="2026-02-26T15:10:52.213" v="762"/>
        <pc:sldMkLst>
          <pc:docMk/>
          <pc:sldMk cId="2981301011" sldId="329"/>
        </pc:sldMkLst>
      </pc:sldChg>
      <pc:sldChg chg="add">
        <pc:chgData name="Oscar Bond [MSP]" userId="0936bff8-706c-42c9-9e2f-a74d95c574e4" providerId="ADAL" clId="{5870C415-42A1-4CC1-9F21-07F1FC512FFC}" dt="2026-02-26T15:10:52.213" v="762"/>
        <pc:sldMkLst>
          <pc:docMk/>
          <pc:sldMk cId="3596730289" sldId="340"/>
        </pc:sldMkLst>
      </pc:sldChg>
      <pc:sldChg chg="add">
        <pc:chgData name="Oscar Bond [MSP]" userId="0936bff8-706c-42c9-9e2f-a74d95c574e4" providerId="ADAL" clId="{5870C415-42A1-4CC1-9F21-07F1FC512FFC}" dt="2026-02-26T15:10:52.213" v="762"/>
        <pc:sldMkLst>
          <pc:docMk/>
          <pc:sldMk cId="1856850536" sldId="342"/>
        </pc:sldMkLst>
      </pc:sldChg>
      <pc:sldChg chg="add">
        <pc:chgData name="Oscar Bond [MSP]" userId="0936bff8-706c-42c9-9e2f-a74d95c574e4" providerId="ADAL" clId="{5870C415-42A1-4CC1-9F21-07F1FC512FFC}" dt="2026-02-26T15:10:52.213" v="762"/>
        <pc:sldMkLst>
          <pc:docMk/>
          <pc:sldMk cId="800943326" sldId="343"/>
        </pc:sldMkLst>
      </pc:sldChg>
      <pc:sldChg chg="add">
        <pc:chgData name="Oscar Bond [MSP]" userId="0936bff8-706c-42c9-9e2f-a74d95c574e4" providerId="ADAL" clId="{5870C415-42A1-4CC1-9F21-07F1FC512FFC}" dt="2026-02-26T15:10:52.213" v="762"/>
        <pc:sldMkLst>
          <pc:docMk/>
          <pc:sldMk cId="3153783598" sldId="346"/>
        </pc:sldMkLst>
      </pc:sldChg>
      <pc:sldChg chg="add">
        <pc:chgData name="Oscar Bond [MSP]" userId="0936bff8-706c-42c9-9e2f-a74d95c574e4" providerId="ADAL" clId="{5870C415-42A1-4CC1-9F21-07F1FC512FFC}" dt="2026-02-26T15:10:52.213" v="762"/>
        <pc:sldMkLst>
          <pc:docMk/>
          <pc:sldMk cId="1303007122" sldId="347"/>
        </pc:sldMkLst>
      </pc:sldChg>
      <pc:sldChg chg="modSp add mod">
        <pc:chgData name="Oscar Bond [MSP]" userId="0936bff8-706c-42c9-9e2f-a74d95c574e4" providerId="ADAL" clId="{5870C415-42A1-4CC1-9F21-07F1FC512FFC}" dt="2026-03-02T10:16:50.727" v="1958" actId="948"/>
        <pc:sldMkLst>
          <pc:docMk/>
          <pc:sldMk cId="2942620178" sldId="365"/>
        </pc:sldMkLst>
        <pc:spChg chg="mod">
          <ac:chgData name="Oscar Bond [MSP]" userId="0936bff8-706c-42c9-9e2f-a74d95c574e4" providerId="ADAL" clId="{5870C415-42A1-4CC1-9F21-07F1FC512FFC}" dt="2026-03-02T10:16:50.727" v="1958" actId="948"/>
          <ac:spMkLst>
            <pc:docMk/>
            <pc:sldMk cId="2942620178" sldId="365"/>
            <ac:spMk id="3" creationId="{163CEB2D-92D5-B275-4D32-EDABFCA919AD}"/>
          </ac:spMkLst>
        </pc:spChg>
      </pc:sldChg>
      <pc:sldChg chg="add">
        <pc:chgData name="Oscar Bond [MSP]" userId="0936bff8-706c-42c9-9e2f-a74d95c574e4" providerId="ADAL" clId="{5870C415-42A1-4CC1-9F21-07F1FC512FFC}" dt="2026-02-26T15:14:18.192" v="768"/>
        <pc:sldMkLst>
          <pc:docMk/>
          <pc:sldMk cId="223043884" sldId="366"/>
        </pc:sldMkLst>
      </pc:sldChg>
      <pc:sldChg chg="addSp delSp modSp add mod ord">
        <pc:chgData name="Oscar Bond [MSP]" userId="0936bff8-706c-42c9-9e2f-a74d95c574e4" providerId="ADAL" clId="{5870C415-42A1-4CC1-9F21-07F1FC512FFC}" dt="2026-03-03T17:00:53.747" v="2981" actId="2711"/>
        <pc:sldMkLst>
          <pc:docMk/>
          <pc:sldMk cId="2627277250" sldId="368"/>
        </pc:sldMkLst>
        <pc:spChg chg="mod">
          <ac:chgData name="Oscar Bond [MSP]" userId="0936bff8-706c-42c9-9e2f-a74d95c574e4" providerId="ADAL" clId="{5870C415-42A1-4CC1-9F21-07F1FC512FFC}" dt="2026-03-03T09:05:14.560" v="2289" actId="552"/>
          <ac:spMkLst>
            <pc:docMk/>
            <pc:sldMk cId="2627277250" sldId="368"/>
            <ac:spMk id="3" creationId="{10AFCDC6-8C07-DB95-7E88-7EB77CEA861E}"/>
          </ac:spMkLst>
        </pc:spChg>
        <pc:spChg chg="mod">
          <ac:chgData name="Oscar Bond [MSP]" userId="0936bff8-706c-42c9-9e2f-a74d95c574e4" providerId="ADAL" clId="{5870C415-42A1-4CC1-9F21-07F1FC512FFC}" dt="2026-03-03T09:05:14.560" v="2289" actId="552"/>
          <ac:spMkLst>
            <pc:docMk/>
            <pc:sldMk cId="2627277250" sldId="368"/>
            <ac:spMk id="4" creationId="{122EA2E8-1B50-7A3A-3638-BA625BCBC5AD}"/>
          </ac:spMkLst>
        </pc:spChg>
        <pc:spChg chg="mod">
          <ac:chgData name="Oscar Bond [MSP]" userId="0936bff8-706c-42c9-9e2f-a74d95c574e4" providerId="ADAL" clId="{5870C415-42A1-4CC1-9F21-07F1FC512FFC}" dt="2026-03-03T17:00:53.747" v="2981" actId="2711"/>
          <ac:spMkLst>
            <pc:docMk/>
            <pc:sldMk cId="2627277250" sldId="368"/>
            <ac:spMk id="12" creationId="{D6D579FA-4296-E7BC-6DE3-07CBE8C79A73}"/>
          </ac:spMkLst>
        </pc:spChg>
        <pc:spChg chg="mod">
          <ac:chgData name="Oscar Bond [MSP]" userId="0936bff8-706c-42c9-9e2f-a74d95c574e4" providerId="ADAL" clId="{5870C415-42A1-4CC1-9F21-07F1FC512FFC}" dt="2026-03-03T17:00:40.537" v="2980" actId="2711"/>
          <ac:spMkLst>
            <pc:docMk/>
            <pc:sldMk cId="2627277250" sldId="368"/>
            <ac:spMk id="16" creationId="{69083650-D15F-49BF-F548-F7FBDB9CC6F0}"/>
          </ac:spMkLst>
        </pc:spChg>
        <pc:spChg chg="mod">
          <ac:chgData name="Oscar Bond [MSP]" userId="0936bff8-706c-42c9-9e2f-a74d95c574e4" providerId="ADAL" clId="{5870C415-42A1-4CC1-9F21-07F1FC512FFC}" dt="2026-03-02T10:08:47.363" v="1573" actId="948"/>
          <ac:spMkLst>
            <pc:docMk/>
            <pc:sldMk cId="2627277250" sldId="368"/>
            <ac:spMk id="20" creationId="{B36F4E32-5902-302B-7AD7-8C0FCFBAD8A8}"/>
          </ac:spMkLst>
        </pc:spChg>
        <pc:spChg chg="mod">
          <ac:chgData name="Oscar Bond [MSP]" userId="0936bff8-706c-42c9-9e2f-a74d95c574e4" providerId="ADAL" clId="{5870C415-42A1-4CC1-9F21-07F1FC512FFC}" dt="2026-03-02T10:13:20.659" v="1921" actId="20577"/>
          <ac:spMkLst>
            <pc:docMk/>
            <pc:sldMk cId="2627277250" sldId="368"/>
            <ac:spMk id="21" creationId="{C2B7A177-4D17-3B84-426E-CC58B2E4DE8E}"/>
          </ac:spMkLst>
        </pc:spChg>
        <pc:spChg chg="add mod">
          <ac:chgData name="Oscar Bond [MSP]" userId="0936bff8-706c-42c9-9e2f-a74d95c574e4" providerId="ADAL" clId="{5870C415-42A1-4CC1-9F21-07F1FC512FFC}" dt="2026-03-03T09:04:22.337" v="2227"/>
          <ac:spMkLst>
            <pc:docMk/>
            <pc:sldMk cId="2627277250" sldId="368"/>
            <ac:spMk id="24" creationId="{1B7ED195-0831-B453-2A34-40279E648098}"/>
          </ac:spMkLst>
        </pc:spChg>
        <pc:spChg chg="add mod">
          <ac:chgData name="Oscar Bond [MSP]" userId="0936bff8-706c-42c9-9e2f-a74d95c574e4" providerId="ADAL" clId="{5870C415-42A1-4CC1-9F21-07F1FC512FFC}" dt="2026-03-03T09:04:22.337" v="2227"/>
          <ac:spMkLst>
            <pc:docMk/>
            <pc:sldMk cId="2627277250" sldId="368"/>
            <ac:spMk id="97" creationId="{06CF01B5-DAC7-BD12-10A9-D1DDDC9D1997}"/>
          </ac:spMkLst>
        </pc:spChg>
        <pc:graphicFrameChg chg="mod">
          <ac:chgData name="Oscar Bond [MSP]" userId="0936bff8-706c-42c9-9e2f-a74d95c574e4" providerId="ADAL" clId="{5870C415-42A1-4CC1-9F21-07F1FC512FFC}" dt="2026-03-02T10:08:47.409" v="1597"/>
          <ac:graphicFrameMkLst>
            <pc:docMk/>
            <pc:sldMk cId="2627277250" sldId="368"/>
            <ac:graphicFrameMk id="9" creationId="{28A9FE87-1355-B0A2-805D-020CADB2EBBB}"/>
          </ac:graphicFrameMkLst>
        </pc:graphicFrameChg>
      </pc:sldChg>
      <pc:sldChg chg="addSp delSp modSp add mod ord">
        <pc:chgData name="Oscar Bond [MSP]" userId="0936bff8-706c-42c9-9e2f-a74d95c574e4" providerId="ADAL" clId="{5870C415-42A1-4CC1-9F21-07F1FC512FFC}" dt="2026-03-03T17:01:36.513" v="2986" actId="14100"/>
        <pc:sldMkLst>
          <pc:docMk/>
          <pc:sldMk cId="2430398786" sldId="369"/>
        </pc:sldMkLst>
        <pc:spChg chg="mod ord">
          <ac:chgData name="Oscar Bond [MSP]" userId="0936bff8-706c-42c9-9e2f-a74d95c574e4" providerId="ADAL" clId="{5870C415-42A1-4CC1-9F21-07F1FC512FFC}" dt="2026-03-03T16:59:37.386" v="2871"/>
          <ac:spMkLst>
            <pc:docMk/>
            <pc:sldMk cId="2430398786" sldId="369"/>
            <ac:spMk id="3" creationId="{3A348C4E-7F15-431B-CDD4-B3943A84206E}"/>
          </ac:spMkLst>
        </pc:spChg>
        <pc:spChg chg="mod ord">
          <ac:chgData name="Oscar Bond [MSP]" userId="0936bff8-706c-42c9-9e2f-a74d95c574e4" providerId="ADAL" clId="{5870C415-42A1-4CC1-9F21-07F1FC512FFC}" dt="2026-03-03T16:59:37.387" v="2873"/>
          <ac:spMkLst>
            <pc:docMk/>
            <pc:sldMk cId="2430398786" sldId="369"/>
            <ac:spMk id="4" creationId="{E3BC13BF-27B7-0735-AF2A-1CE46D5DE24A}"/>
          </ac:spMkLst>
        </pc:spChg>
        <pc:spChg chg="mod ord">
          <ac:chgData name="Oscar Bond [MSP]" userId="0936bff8-706c-42c9-9e2f-a74d95c574e4" providerId="ADAL" clId="{5870C415-42A1-4CC1-9F21-07F1FC512FFC}" dt="2026-03-03T16:59:37.392" v="2879"/>
          <ac:spMkLst>
            <pc:docMk/>
            <pc:sldMk cId="2430398786" sldId="369"/>
            <ac:spMk id="12" creationId="{10DF432A-2B56-A90D-FDC5-50ECAF9D26B6}"/>
          </ac:spMkLst>
        </pc:spChg>
        <pc:spChg chg="mod ord">
          <ac:chgData name="Oscar Bond [MSP]" userId="0936bff8-706c-42c9-9e2f-a74d95c574e4" providerId="ADAL" clId="{5870C415-42A1-4CC1-9F21-07F1FC512FFC}" dt="2026-03-03T16:59:37.381" v="2863"/>
          <ac:spMkLst>
            <pc:docMk/>
            <pc:sldMk cId="2430398786" sldId="369"/>
            <ac:spMk id="14" creationId="{BB82F36D-CCC6-D69B-6A0F-C96F325D1A1B}"/>
          </ac:spMkLst>
        </pc:spChg>
        <pc:spChg chg="mod ord">
          <ac:chgData name="Oscar Bond [MSP]" userId="0936bff8-706c-42c9-9e2f-a74d95c574e4" providerId="ADAL" clId="{5870C415-42A1-4CC1-9F21-07F1FC512FFC}" dt="2026-03-03T16:59:37.385" v="2869"/>
          <ac:spMkLst>
            <pc:docMk/>
            <pc:sldMk cId="2430398786" sldId="369"/>
            <ac:spMk id="16" creationId="{604308B4-5E80-B764-514C-3EA5802BEA17}"/>
          </ac:spMkLst>
        </pc:spChg>
        <pc:spChg chg="mod ord">
          <ac:chgData name="Oscar Bond [MSP]" userId="0936bff8-706c-42c9-9e2f-a74d95c574e4" providerId="ADAL" clId="{5870C415-42A1-4CC1-9F21-07F1FC512FFC}" dt="2026-03-03T16:59:37.383" v="2865"/>
          <ac:spMkLst>
            <pc:docMk/>
            <pc:sldMk cId="2430398786" sldId="369"/>
            <ac:spMk id="20" creationId="{765FA8AC-2967-41EA-690C-A74268912328}"/>
          </ac:spMkLst>
        </pc:spChg>
        <pc:spChg chg="mod ord">
          <ac:chgData name="Oscar Bond [MSP]" userId="0936bff8-706c-42c9-9e2f-a74d95c574e4" providerId="ADAL" clId="{5870C415-42A1-4CC1-9F21-07F1FC512FFC}" dt="2026-03-03T16:59:37.384" v="2867"/>
          <ac:spMkLst>
            <pc:docMk/>
            <pc:sldMk cId="2430398786" sldId="369"/>
            <ac:spMk id="21" creationId="{4C97EEC4-88E8-3691-B38E-5DB0D328C432}"/>
          </ac:spMkLst>
        </pc:spChg>
        <pc:spChg chg="add mod ord">
          <ac:chgData name="Oscar Bond [MSP]" userId="0936bff8-706c-42c9-9e2f-a74d95c574e4" providerId="ADAL" clId="{5870C415-42A1-4CC1-9F21-07F1FC512FFC}" dt="2026-03-03T16:59:37.393" v="2881"/>
          <ac:spMkLst>
            <pc:docMk/>
            <pc:sldMk cId="2430398786" sldId="369"/>
            <ac:spMk id="22" creationId="{E52118F4-6714-67A8-625D-B2538E83889F}"/>
          </ac:spMkLst>
        </pc:spChg>
        <pc:spChg chg="mod ord">
          <ac:chgData name="Oscar Bond [MSP]" userId="0936bff8-706c-42c9-9e2f-a74d95c574e4" providerId="ADAL" clId="{5870C415-42A1-4CC1-9F21-07F1FC512FFC}" dt="2026-03-03T16:59:37.405" v="2906"/>
          <ac:spMkLst>
            <pc:docMk/>
            <pc:sldMk cId="2430398786" sldId="369"/>
            <ac:spMk id="278" creationId="{629F1EB8-EBB2-C989-8F76-35BD38184682}"/>
          </ac:spMkLst>
        </pc:spChg>
        <pc:spChg chg="add mod ord">
          <ac:chgData name="Oscar Bond [MSP]" userId="0936bff8-706c-42c9-9e2f-a74d95c574e4" providerId="ADAL" clId="{5870C415-42A1-4CC1-9F21-07F1FC512FFC}" dt="2026-03-03T16:59:37.379" v="2861"/>
          <ac:spMkLst>
            <pc:docMk/>
            <pc:sldMk cId="2430398786" sldId="369"/>
            <ac:spMk id="330" creationId="{39D34780-B1E3-1C3F-03AC-90AD389B4CB8}"/>
          </ac:spMkLst>
        </pc:spChg>
        <pc:spChg chg="add mod">
          <ac:chgData name="Oscar Bond [MSP]" userId="0936bff8-706c-42c9-9e2f-a74d95c574e4" providerId="ADAL" clId="{5870C415-42A1-4CC1-9F21-07F1FC512FFC}" dt="2026-03-03T17:01:36.513" v="2986" actId="14100"/>
          <ac:spMkLst>
            <pc:docMk/>
            <pc:sldMk cId="2430398786" sldId="369"/>
            <ac:spMk id="334" creationId="{F939BF4B-8FD4-AEDE-7A1D-18EE047C0BB2}"/>
          </ac:spMkLst>
        </pc:spChg>
        <pc:grpChg chg="mod">
          <ac:chgData name="Oscar Bond [MSP]" userId="0936bff8-706c-42c9-9e2f-a74d95c574e4" providerId="ADAL" clId="{5870C415-42A1-4CC1-9F21-07F1FC512FFC}" dt="2026-03-03T16:59:37.399" v="2893"/>
          <ac:grpSpMkLst>
            <pc:docMk/>
            <pc:sldMk cId="2430398786" sldId="369"/>
            <ac:grpSpMk id="218" creationId="{30B8756B-EAAB-79E6-10A2-1A0CBC612764}"/>
          </ac:grpSpMkLst>
        </pc:grpChg>
        <pc:grpChg chg="mod">
          <ac:chgData name="Oscar Bond [MSP]" userId="0936bff8-706c-42c9-9e2f-a74d95c574e4" providerId="ADAL" clId="{5870C415-42A1-4CC1-9F21-07F1FC512FFC}" dt="2026-03-03T16:59:37.399" v="2894"/>
          <ac:grpSpMkLst>
            <pc:docMk/>
            <pc:sldMk cId="2430398786" sldId="369"/>
            <ac:grpSpMk id="221" creationId="{864C9C17-5DB6-B17B-DE74-C5B89D5B3367}"/>
          </ac:grpSpMkLst>
        </pc:grpChg>
        <pc:grpChg chg="mod">
          <ac:chgData name="Oscar Bond [MSP]" userId="0936bff8-706c-42c9-9e2f-a74d95c574e4" providerId="ADAL" clId="{5870C415-42A1-4CC1-9F21-07F1FC512FFC}" dt="2026-03-03T16:59:37.400" v="2895"/>
          <ac:grpSpMkLst>
            <pc:docMk/>
            <pc:sldMk cId="2430398786" sldId="369"/>
            <ac:grpSpMk id="224" creationId="{D63C5D10-1230-3334-328E-219DFE580E14}"/>
          </ac:grpSpMkLst>
        </pc:grpChg>
        <pc:grpChg chg="mod">
          <ac:chgData name="Oscar Bond [MSP]" userId="0936bff8-706c-42c9-9e2f-a74d95c574e4" providerId="ADAL" clId="{5870C415-42A1-4CC1-9F21-07F1FC512FFC}" dt="2026-03-03T16:59:37.400" v="2896"/>
          <ac:grpSpMkLst>
            <pc:docMk/>
            <pc:sldMk cId="2430398786" sldId="369"/>
            <ac:grpSpMk id="235" creationId="{1AC120CD-41A9-3F0C-324E-059B370652AE}"/>
          </ac:grpSpMkLst>
        </pc:grpChg>
        <pc:grpChg chg="mod">
          <ac:chgData name="Oscar Bond [MSP]" userId="0936bff8-706c-42c9-9e2f-a74d95c574e4" providerId="ADAL" clId="{5870C415-42A1-4CC1-9F21-07F1FC512FFC}" dt="2026-03-03T16:59:37.401" v="2898"/>
          <ac:grpSpMkLst>
            <pc:docMk/>
            <pc:sldMk cId="2430398786" sldId="369"/>
            <ac:grpSpMk id="247" creationId="{D88ABC12-9FC6-6CBC-DB18-8748FB10DDBE}"/>
          </ac:grpSpMkLst>
        </pc:grpChg>
        <pc:grpChg chg="mod">
          <ac:chgData name="Oscar Bond [MSP]" userId="0936bff8-706c-42c9-9e2f-a74d95c574e4" providerId="ADAL" clId="{5870C415-42A1-4CC1-9F21-07F1FC512FFC}" dt="2026-03-03T16:59:37.402" v="2899"/>
          <ac:grpSpMkLst>
            <pc:docMk/>
            <pc:sldMk cId="2430398786" sldId="369"/>
            <ac:grpSpMk id="250" creationId="{9A4307EB-D4D5-5964-1BED-F011FD471DD5}"/>
          </ac:grpSpMkLst>
        </pc:grpChg>
        <pc:grpChg chg="mod">
          <ac:chgData name="Oscar Bond [MSP]" userId="0936bff8-706c-42c9-9e2f-a74d95c574e4" providerId="ADAL" clId="{5870C415-42A1-4CC1-9F21-07F1FC512FFC}" dt="2026-03-03T16:59:37.403" v="2900"/>
          <ac:grpSpMkLst>
            <pc:docMk/>
            <pc:sldMk cId="2430398786" sldId="369"/>
            <ac:grpSpMk id="253" creationId="{939C267D-555C-DF02-4278-DB7BB5271911}"/>
          </ac:grpSpMkLst>
        </pc:grpChg>
        <pc:graphicFrameChg chg="mod">
          <ac:chgData name="Oscar Bond [MSP]" userId="0936bff8-706c-42c9-9e2f-a74d95c574e4" providerId="ADAL" clId="{5870C415-42A1-4CC1-9F21-07F1FC512FFC}" dt="2026-03-03T16:59:37.439" v="2971"/>
          <ac:graphicFrameMkLst>
            <pc:docMk/>
            <pc:sldMk cId="2430398786" sldId="369"/>
            <ac:graphicFrameMk id="9" creationId="{B457AE0D-1528-AFD0-4A8A-2CF748F80103}"/>
          </ac:graphicFrameMkLst>
        </pc:graphicFrameChg>
        <pc:picChg chg="mod ord">
          <ac:chgData name="Oscar Bond [MSP]" userId="0936bff8-706c-42c9-9e2f-a74d95c574e4" providerId="ADAL" clId="{5870C415-42A1-4CC1-9F21-07F1FC512FFC}" dt="2026-03-03T16:59:37.389" v="2875"/>
          <ac:picMkLst>
            <pc:docMk/>
            <pc:sldMk cId="2430398786" sldId="369"/>
            <ac:picMk id="7" creationId="{74C8F065-91F0-33B9-4633-D34C0279081D}"/>
          </ac:picMkLst>
        </pc:picChg>
        <pc:picChg chg="mod ord">
          <ac:chgData name="Oscar Bond [MSP]" userId="0936bff8-706c-42c9-9e2f-a74d95c574e4" providerId="ADAL" clId="{5870C415-42A1-4CC1-9F21-07F1FC512FFC}" dt="2026-03-03T16:59:37.391" v="2877"/>
          <ac:picMkLst>
            <pc:docMk/>
            <pc:sldMk cId="2430398786" sldId="369"/>
            <ac:picMk id="10" creationId="{04504032-8266-FBE5-F4D1-402AC4998BAE}"/>
          </ac:picMkLst>
        </pc:picChg>
        <pc:picChg chg="mod">
          <ac:chgData name="Oscar Bond [MSP]" userId="0936bff8-706c-42c9-9e2f-a74d95c574e4" providerId="ADAL" clId="{5870C415-42A1-4CC1-9F21-07F1FC512FFC}" dt="2026-03-03T16:59:37.393" v="2882"/>
          <ac:picMkLst>
            <pc:docMk/>
            <pc:sldMk cId="2430398786" sldId="369"/>
            <ac:picMk id="206" creationId="{C4433658-52BA-E994-95A4-8254A53A621E}"/>
          </ac:picMkLst>
        </pc:picChg>
        <pc:picChg chg="mod">
          <ac:chgData name="Oscar Bond [MSP]" userId="0936bff8-706c-42c9-9e2f-a74d95c574e4" providerId="ADAL" clId="{5870C415-42A1-4CC1-9F21-07F1FC512FFC}" dt="2026-03-03T16:59:37.394" v="2883"/>
          <ac:picMkLst>
            <pc:docMk/>
            <pc:sldMk cId="2430398786" sldId="369"/>
            <ac:picMk id="208" creationId="{781294BC-A763-7222-2FE1-CC14B60A2BC1}"/>
          </ac:picMkLst>
        </pc:picChg>
        <pc:picChg chg="mod">
          <ac:chgData name="Oscar Bond [MSP]" userId="0936bff8-706c-42c9-9e2f-a74d95c574e4" providerId="ADAL" clId="{5870C415-42A1-4CC1-9F21-07F1FC512FFC}" dt="2026-03-03T16:59:37.394" v="2884"/>
          <ac:picMkLst>
            <pc:docMk/>
            <pc:sldMk cId="2430398786" sldId="369"/>
            <ac:picMk id="209" creationId="{728EFF98-E690-4D8B-DA88-4710CAA83827}"/>
          </ac:picMkLst>
        </pc:picChg>
        <pc:picChg chg="mod">
          <ac:chgData name="Oscar Bond [MSP]" userId="0936bff8-706c-42c9-9e2f-a74d95c574e4" providerId="ADAL" clId="{5870C415-42A1-4CC1-9F21-07F1FC512FFC}" dt="2026-03-03T16:59:37.394" v="2885"/>
          <ac:picMkLst>
            <pc:docMk/>
            <pc:sldMk cId="2430398786" sldId="369"/>
            <ac:picMk id="210" creationId="{8B143BC0-9ED8-8CD6-4AD8-C03E1A269E1B}"/>
          </ac:picMkLst>
        </pc:picChg>
        <pc:picChg chg="mod">
          <ac:chgData name="Oscar Bond [MSP]" userId="0936bff8-706c-42c9-9e2f-a74d95c574e4" providerId="ADAL" clId="{5870C415-42A1-4CC1-9F21-07F1FC512FFC}" dt="2026-03-03T16:59:37.395" v="2886"/>
          <ac:picMkLst>
            <pc:docMk/>
            <pc:sldMk cId="2430398786" sldId="369"/>
            <ac:picMk id="211" creationId="{A9F055EB-04BE-F1E9-D938-B6EEE4FF6E09}"/>
          </ac:picMkLst>
        </pc:picChg>
        <pc:picChg chg="mod">
          <ac:chgData name="Oscar Bond [MSP]" userId="0936bff8-706c-42c9-9e2f-a74d95c574e4" providerId="ADAL" clId="{5870C415-42A1-4CC1-9F21-07F1FC512FFC}" dt="2026-03-03T16:59:37.395" v="2887"/>
          <ac:picMkLst>
            <pc:docMk/>
            <pc:sldMk cId="2430398786" sldId="369"/>
            <ac:picMk id="212" creationId="{6CC74899-656C-D21C-5859-77C5AA4D3571}"/>
          </ac:picMkLst>
        </pc:picChg>
        <pc:picChg chg="mod">
          <ac:chgData name="Oscar Bond [MSP]" userId="0936bff8-706c-42c9-9e2f-a74d95c574e4" providerId="ADAL" clId="{5870C415-42A1-4CC1-9F21-07F1FC512FFC}" dt="2026-03-03T16:59:37.396" v="2888"/>
          <ac:picMkLst>
            <pc:docMk/>
            <pc:sldMk cId="2430398786" sldId="369"/>
            <ac:picMk id="213" creationId="{0E017ACF-B983-0D65-C5B9-4276CD2C24E8}"/>
          </ac:picMkLst>
        </pc:picChg>
        <pc:picChg chg="mod">
          <ac:chgData name="Oscar Bond [MSP]" userId="0936bff8-706c-42c9-9e2f-a74d95c574e4" providerId="ADAL" clId="{5870C415-42A1-4CC1-9F21-07F1FC512FFC}" dt="2026-03-03T16:59:37.397" v="2889"/>
          <ac:picMkLst>
            <pc:docMk/>
            <pc:sldMk cId="2430398786" sldId="369"/>
            <ac:picMk id="214" creationId="{4AFC0F93-F7DD-EA07-89DD-519F3739E853}"/>
          </ac:picMkLst>
        </pc:picChg>
        <pc:picChg chg="mod">
          <ac:chgData name="Oscar Bond [MSP]" userId="0936bff8-706c-42c9-9e2f-a74d95c574e4" providerId="ADAL" clId="{5870C415-42A1-4CC1-9F21-07F1FC512FFC}" dt="2026-03-03T16:59:37.397" v="2890"/>
          <ac:picMkLst>
            <pc:docMk/>
            <pc:sldMk cId="2430398786" sldId="369"/>
            <ac:picMk id="215" creationId="{89679A2A-31A2-2CB0-D5DC-C43D35A7074E}"/>
          </ac:picMkLst>
        </pc:picChg>
        <pc:picChg chg="mod">
          <ac:chgData name="Oscar Bond [MSP]" userId="0936bff8-706c-42c9-9e2f-a74d95c574e4" providerId="ADAL" clId="{5870C415-42A1-4CC1-9F21-07F1FC512FFC}" dt="2026-03-03T16:59:37.398" v="2891"/>
          <ac:picMkLst>
            <pc:docMk/>
            <pc:sldMk cId="2430398786" sldId="369"/>
            <ac:picMk id="216" creationId="{F62DFE16-EDA8-709F-BF91-4AE7390FB6F8}"/>
          </ac:picMkLst>
        </pc:picChg>
        <pc:picChg chg="mod">
          <ac:chgData name="Oscar Bond [MSP]" userId="0936bff8-706c-42c9-9e2f-a74d95c574e4" providerId="ADAL" clId="{5870C415-42A1-4CC1-9F21-07F1FC512FFC}" dt="2026-03-03T16:59:37.398" v="2892"/>
          <ac:picMkLst>
            <pc:docMk/>
            <pc:sldMk cId="2430398786" sldId="369"/>
            <ac:picMk id="217" creationId="{B2943190-16E1-71BA-28E5-4AF3CD351858}"/>
          </ac:picMkLst>
        </pc:picChg>
        <pc:picChg chg="mod">
          <ac:chgData name="Oscar Bond [MSP]" userId="0936bff8-706c-42c9-9e2f-a74d95c574e4" providerId="ADAL" clId="{5870C415-42A1-4CC1-9F21-07F1FC512FFC}" dt="2026-03-03T16:59:37.401" v="2897"/>
          <ac:picMkLst>
            <pc:docMk/>
            <pc:sldMk cId="2430398786" sldId="369"/>
            <ac:picMk id="246" creationId="{BB1BDE7A-7400-9BE1-37FA-42D37B37E755}"/>
          </ac:picMkLst>
        </pc:picChg>
        <pc:picChg chg="mod">
          <ac:chgData name="Oscar Bond [MSP]" userId="0936bff8-706c-42c9-9e2f-a74d95c574e4" providerId="ADAL" clId="{5870C415-42A1-4CC1-9F21-07F1FC512FFC}" dt="2026-03-03T16:59:37.404" v="2902"/>
          <ac:picMkLst>
            <pc:docMk/>
            <pc:sldMk cId="2430398786" sldId="369"/>
            <ac:picMk id="275" creationId="{52C6BA1F-C4F0-6328-AE85-EA4365F30B7B}"/>
          </ac:picMkLst>
        </pc:picChg>
        <pc:picChg chg="mod">
          <ac:chgData name="Oscar Bond [MSP]" userId="0936bff8-706c-42c9-9e2f-a74d95c574e4" providerId="ADAL" clId="{5870C415-42A1-4CC1-9F21-07F1FC512FFC}" dt="2026-03-03T16:59:37.404" v="2903"/>
          <ac:picMkLst>
            <pc:docMk/>
            <pc:sldMk cId="2430398786" sldId="369"/>
            <ac:picMk id="276" creationId="{EB30BBAB-BE46-5F13-3DC8-0968DF59A0C2}"/>
          </ac:picMkLst>
        </pc:picChg>
        <pc:picChg chg="mod">
          <ac:chgData name="Oscar Bond [MSP]" userId="0936bff8-706c-42c9-9e2f-a74d95c574e4" providerId="ADAL" clId="{5870C415-42A1-4CC1-9F21-07F1FC512FFC}" dt="2026-03-03T16:59:37.405" v="2904"/>
          <ac:picMkLst>
            <pc:docMk/>
            <pc:sldMk cId="2430398786" sldId="369"/>
            <ac:picMk id="277" creationId="{E8C9BC51-B262-F37C-6507-B71147C1723B}"/>
          </ac:picMkLst>
        </pc:picChg>
        <pc:picChg chg="mod">
          <ac:chgData name="Oscar Bond [MSP]" userId="0936bff8-706c-42c9-9e2f-a74d95c574e4" providerId="ADAL" clId="{5870C415-42A1-4CC1-9F21-07F1FC512FFC}" dt="2026-03-03T16:59:37.406" v="2907"/>
          <ac:picMkLst>
            <pc:docMk/>
            <pc:sldMk cId="2430398786" sldId="369"/>
            <ac:picMk id="279" creationId="{C06F7742-6E94-4927-BDA2-2284D846F01B}"/>
          </ac:picMkLst>
        </pc:picChg>
      </pc:sldChg>
      <pc:sldChg chg="addSp delSp modSp add mod ord">
        <pc:chgData name="Oscar Bond [MSP]" userId="0936bff8-706c-42c9-9e2f-a74d95c574e4" providerId="ADAL" clId="{5870C415-42A1-4CC1-9F21-07F1FC512FFC}" dt="2026-03-03T17:00:22.292" v="2979" actId="2711"/>
        <pc:sldMkLst>
          <pc:docMk/>
          <pc:sldMk cId="825480293" sldId="370"/>
        </pc:sldMkLst>
        <pc:spChg chg="mod">
          <ac:chgData name="Oscar Bond [MSP]" userId="0936bff8-706c-42c9-9e2f-a74d95c574e4" providerId="ADAL" clId="{5870C415-42A1-4CC1-9F21-07F1FC512FFC}" dt="2026-03-03T09:03:28.929" v="2191" actId="552"/>
          <ac:spMkLst>
            <pc:docMk/>
            <pc:sldMk cId="825480293" sldId="370"/>
            <ac:spMk id="3" creationId="{89EB8C06-180F-1F05-5B3B-A9128585785F}"/>
          </ac:spMkLst>
        </pc:spChg>
        <pc:spChg chg="mod">
          <ac:chgData name="Oscar Bond [MSP]" userId="0936bff8-706c-42c9-9e2f-a74d95c574e4" providerId="ADAL" clId="{5870C415-42A1-4CC1-9F21-07F1FC512FFC}" dt="2026-03-03T09:03:28.929" v="2191" actId="552"/>
          <ac:spMkLst>
            <pc:docMk/>
            <pc:sldMk cId="825480293" sldId="370"/>
            <ac:spMk id="4" creationId="{3DC2ACF0-063F-E776-52CF-01DB6DEB69DA}"/>
          </ac:spMkLst>
        </pc:spChg>
        <pc:spChg chg="mod">
          <ac:chgData name="Oscar Bond [MSP]" userId="0936bff8-706c-42c9-9e2f-a74d95c574e4" providerId="ADAL" clId="{5870C415-42A1-4CC1-9F21-07F1FC512FFC}" dt="2026-03-03T08:57:32.324" v="2097" actId="1076"/>
          <ac:spMkLst>
            <pc:docMk/>
            <pc:sldMk cId="825480293" sldId="370"/>
            <ac:spMk id="14" creationId="{D5B2C903-74A0-76CD-CACF-A1C453615A3C}"/>
          </ac:spMkLst>
        </pc:spChg>
        <pc:spChg chg="mod">
          <ac:chgData name="Oscar Bond [MSP]" userId="0936bff8-706c-42c9-9e2f-a74d95c574e4" providerId="ADAL" clId="{5870C415-42A1-4CC1-9F21-07F1FC512FFC}" dt="2026-03-03T17:00:22.292" v="2979" actId="2711"/>
          <ac:spMkLst>
            <pc:docMk/>
            <pc:sldMk cId="825480293" sldId="370"/>
            <ac:spMk id="16" creationId="{E7472A0D-0159-7E32-0EA6-246010752832}"/>
          </ac:spMkLst>
        </pc:spChg>
        <pc:spChg chg="mod">
          <ac:chgData name="Oscar Bond [MSP]" userId="0936bff8-706c-42c9-9e2f-a74d95c574e4" providerId="ADAL" clId="{5870C415-42A1-4CC1-9F21-07F1FC512FFC}" dt="2026-03-03T09:08:10.307" v="2395" actId="313"/>
          <ac:spMkLst>
            <pc:docMk/>
            <pc:sldMk cId="825480293" sldId="370"/>
            <ac:spMk id="21" creationId="{80D90604-D07A-07C5-F64A-A30338551C65}"/>
          </ac:spMkLst>
        </pc:spChg>
        <pc:spChg chg="add mod">
          <ac:chgData name="Oscar Bond [MSP]" userId="0936bff8-706c-42c9-9e2f-a74d95c574e4" providerId="ADAL" clId="{5870C415-42A1-4CC1-9F21-07F1FC512FFC}" dt="2026-03-03T09:03:54.577" v="2219" actId="1035"/>
          <ac:spMkLst>
            <pc:docMk/>
            <pc:sldMk cId="825480293" sldId="370"/>
            <ac:spMk id="290" creationId="{AC34F4E8-61F4-7C75-F3FC-E48E4093AFD1}"/>
          </ac:spMkLst>
        </pc:spChg>
        <pc:spChg chg="add mod">
          <ac:chgData name="Oscar Bond [MSP]" userId="0936bff8-706c-42c9-9e2f-a74d95c574e4" providerId="ADAL" clId="{5870C415-42A1-4CC1-9F21-07F1FC512FFC}" dt="2026-03-03T09:03:54.577" v="2219" actId="1035"/>
          <ac:spMkLst>
            <pc:docMk/>
            <pc:sldMk cId="825480293" sldId="370"/>
            <ac:spMk id="304" creationId="{6EC924E9-BAD1-5C0E-8F85-A60E4EA4525C}"/>
          </ac:spMkLst>
        </pc:spChg>
        <pc:spChg chg="add mod">
          <ac:chgData name="Oscar Bond [MSP]" userId="0936bff8-706c-42c9-9e2f-a74d95c574e4" providerId="ADAL" clId="{5870C415-42A1-4CC1-9F21-07F1FC512FFC}" dt="2026-03-03T09:03:41.012" v="2201" actId="20577"/>
          <ac:spMkLst>
            <pc:docMk/>
            <pc:sldMk cId="825480293" sldId="370"/>
            <ac:spMk id="327" creationId="{6B3E50F5-9185-9959-517B-1B5B1CC42A21}"/>
          </ac:spMkLst>
        </pc:spChg>
        <pc:picChg chg="mod">
          <ac:chgData name="Oscar Bond [MSP]" userId="0936bff8-706c-42c9-9e2f-a74d95c574e4" providerId="ADAL" clId="{5870C415-42A1-4CC1-9F21-07F1FC512FFC}" dt="2026-03-03T09:03:54.577" v="2219" actId="1035"/>
          <ac:picMkLst>
            <pc:docMk/>
            <pc:sldMk cId="825480293" sldId="370"/>
            <ac:picMk id="241" creationId="{301512CC-C048-B286-FDBE-D2230214274D}"/>
          </ac:picMkLst>
        </pc:picChg>
        <pc:picChg chg="mod">
          <ac:chgData name="Oscar Bond [MSP]" userId="0936bff8-706c-42c9-9e2f-a74d95c574e4" providerId="ADAL" clId="{5870C415-42A1-4CC1-9F21-07F1FC512FFC}" dt="2026-03-03T08:59:10.704" v="2114" actId="1076"/>
          <ac:picMkLst>
            <pc:docMk/>
            <pc:sldMk cId="825480293" sldId="370"/>
            <ac:picMk id="243" creationId="{CBACD031-3640-C90E-A219-D0E3CFEF7538}"/>
          </ac:picMkLst>
        </pc:picChg>
        <pc:picChg chg="mod">
          <ac:chgData name="Oscar Bond [MSP]" userId="0936bff8-706c-42c9-9e2f-a74d95c574e4" providerId="ADAL" clId="{5870C415-42A1-4CC1-9F21-07F1FC512FFC}" dt="2026-03-03T08:59:10.704" v="2114" actId="1076"/>
          <ac:picMkLst>
            <pc:docMk/>
            <pc:sldMk cId="825480293" sldId="370"/>
            <ac:picMk id="257" creationId="{4F65BD8F-912B-E558-2BA6-DE680E8937CF}"/>
          </ac:picMkLst>
        </pc:picChg>
        <pc:picChg chg="mod">
          <ac:chgData name="Oscar Bond [MSP]" userId="0936bff8-706c-42c9-9e2f-a74d95c574e4" providerId="ADAL" clId="{5870C415-42A1-4CC1-9F21-07F1FC512FFC}" dt="2026-03-03T08:59:10.704" v="2114" actId="1076"/>
          <ac:picMkLst>
            <pc:docMk/>
            <pc:sldMk cId="825480293" sldId="370"/>
            <ac:picMk id="268" creationId="{41B71498-6939-33B1-C56A-A127EC18E10A}"/>
          </ac:picMkLst>
        </pc:picChg>
      </pc:sldChg>
      <pc:sldChg chg="addSp delSp modSp mod">
        <pc:chgData name="Oscar Bond [MSP]" userId="0936bff8-706c-42c9-9e2f-a74d95c574e4" providerId="ADAL" clId="{5870C415-42A1-4CC1-9F21-07F1FC512FFC}" dt="2026-03-03T17:02:36.756" v="3070"/>
        <pc:sldMkLst>
          <pc:docMk/>
          <pc:sldMk cId="2332189274" sldId="373"/>
        </pc:sldMkLst>
        <pc:spChg chg="add mod ord">
          <ac:chgData name="Oscar Bond [MSP]" userId="0936bff8-706c-42c9-9e2f-a74d95c574e4" providerId="ADAL" clId="{5870C415-42A1-4CC1-9F21-07F1FC512FFC}" dt="2026-03-03T17:02:07.390" v="3061"/>
          <ac:spMkLst>
            <pc:docMk/>
            <pc:sldMk cId="2332189274" sldId="373"/>
            <ac:spMk id="3" creationId="{02537CC0-CD7C-9546-41E2-9EE301ADCFCD}"/>
          </ac:spMkLst>
        </pc:spChg>
        <pc:spChg chg="add mod">
          <ac:chgData name="Oscar Bond [MSP]" userId="0936bff8-706c-42c9-9e2f-a74d95c574e4" providerId="ADAL" clId="{5870C415-42A1-4CC1-9F21-07F1FC512FFC}" dt="2026-03-03T17:02:29.386" v="3064"/>
          <ac:spMkLst>
            <pc:docMk/>
            <pc:sldMk cId="2332189274" sldId="373"/>
            <ac:spMk id="8" creationId="{42D44F10-520C-8D3C-6CE0-54E026741AF3}"/>
          </ac:spMkLst>
        </pc:spChg>
        <pc:graphicFrameChg chg="add mod ord modVis">
          <ac:chgData name="Oscar Bond [MSP]" userId="0936bff8-706c-42c9-9e2f-a74d95c574e4" providerId="ADAL" clId="{5870C415-42A1-4CC1-9F21-07F1FC512FFC}" dt="2026-03-03T17:02:36.756" v="3070"/>
          <ac:graphicFrameMkLst>
            <pc:docMk/>
            <pc:sldMk cId="2332189274" sldId="373"/>
            <ac:graphicFrameMk id="6" creationId="{64963D31-5937-DA5D-1786-0D968E88B0BB}"/>
          </ac:graphicFrameMkLst>
        </pc:graphicFrameChg>
        <pc:picChg chg="mod ord">
          <ac:chgData name="Oscar Bond [MSP]" userId="0936bff8-706c-42c9-9e2f-a74d95c574e4" providerId="ADAL" clId="{5870C415-42A1-4CC1-9F21-07F1FC512FFC}" dt="2026-03-03T17:01:52.772" v="3015"/>
          <ac:picMkLst>
            <pc:docMk/>
            <pc:sldMk cId="2332189274" sldId="373"/>
            <ac:picMk id="5" creationId="{5FD27CAB-23E9-0C05-62D3-693D150960B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7C49CD-3AA9-4F5C-93AF-17DCBB3E5060}" type="datetimeFigureOut">
              <a:rPr lang="en-GB" smtClean="0"/>
              <a:t>06/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EBEE78-AD4B-45C9-B5E7-BD924FCDEF6B}" type="slidenum">
              <a:rPr lang="en-GB" smtClean="0"/>
              <a:t>‹#›</a:t>
            </a:fld>
            <a:endParaRPr lang="en-GB"/>
          </a:p>
        </p:txBody>
      </p:sp>
    </p:spTree>
    <p:extLst>
      <p:ext uri="{BB962C8B-B14F-4D97-AF65-F5344CB8AC3E}">
        <p14:creationId xmlns:p14="http://schemas.microsoft.com/office/powerpoint/2010/main" val="3358832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mailto:box.consultations.resp@neso.energy"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D5C99-C27F-6E53-5ACA-5EB7A49580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E12B39-6C64-B1EE-2E36-DB07180DB448}"/>
              </a:ext>
            </a:extLst>
          </p:cNvPr>
          <p:cNvSpPr>
            <a:spLocks noGrp="1" noRot="1" noChangeAspect="1"/>
          </p:cNvSpPr>
          <p:nvPr>
            <p:ph type="sldImg"/>
          </p:nvPr>
        </p:nvSpPr>
        <p:spPr/>
        <p:txBody>
          <a:bodyPr/>
          <a:lstStyle/>
          <a:p>
            <a:endParaRPr lang="nl-NL"/>
          </a:p>
        </p:txBody>
      </p:sp>
      <p:sp>
        <p:nvSpPr>
          <p:cNvPr id="3" name="Notes Placeholder 2">
            <a:extLst>
              <a:ext uri="{FF2B5EF4-FFF2-40B4-BE49-F238E27FC236}">
                <a16:creationId xmlns:a16="http://schemas.microsoft.com/office/drawing/2014/main" id="{D48F5DB6-2156-6334-3331-307CD5FCB3D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443114A-2AAE-28E5-C55A-79BC02B633EF}"/>
              </a:ext>
            </a:extLst>
          </p:cNvPr>
          <p:cNvSpPr>
            <a:spLocks noGrp="1"/>
          </p:cNvSpPr>
          <p:nvPr>
            <p:ph type="sldNum" sz="quarter" idx="5"/>
          </p:nvPr>
        </p:nvSpPr>
        <p:spPr/>
        <p:txBody>
          <a:bodyPr/>
          <a:lstStyle/>
          <a:p>
            <a:fld id="{FCCB5404-C021-EC41-B6A7-4D708E49A9C1}" type="slidenum">
              <a:rPr lang="en-GB" smtClean="0"/>
              <a:t>1</a:t>
            </a:fld>
            <a:endParaRPr lang="en-GB"/>
          </a:p>
        </p:txBody>
      </p:sp>
    </p:spTree>
    <p:extLst>
      <p:ext uri="{BB962C8B-B14F-4D97-AF65-F5344CB8AC3E}">
        <p14:creationId xmlns:p14="http://schemas.microsoft.com/office/powerpoint/2010/main" val="2492315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7B62F-1C33-D322-8B39-3238629954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1F0852-90BD-943D-C8B0-DEC037E208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CDC08B-E223-58FF-55F7-CC49800352ED}"/>
              </a:ext>
            </a:extLst>
          </p:cNvPr>
          <p:cNvSpPr>
            <a:spLocks noGrp="1"/>
          </p:cNvSpPr>
          <p:nvPr>
            <p:ph type="body" idx="1"/>
          </p:nvPr>
        </p:nvSpPr>
        <p:spPr/>
        <p:txBody>
          <a:bodyPr/>
          <a:lstStyle/>
          <a:p>
            <a:pPr fontAlgn="t">
              <a:lnSpc>
                <a:spcPts val="1500"/>
              </a:lnSpc>
              <a:buNone/>
            </a:pPr>
            <a:r>
              <a:rPr lang="en-GB" b="1" i="0">
                <a:effectLst/>
                <a:latin typeface="Segoe UI" panose="020B0502040204020203" pitchFamily="34" charset="0"/>
              </a:rPr>
              <a:t>Guidance for facilitators:</a:t>
            </a:r>
            <a:endParaRPr lang="en-GB" b="0" i="0">
              <a:effectLst/>
              <a:latin typeface="Segoe UI" panose="020B0502040204020203" pitchFamily="34" charset="0"/>
            </a:endParaRPr>
          </a:p>
          <a:p>
            <a:pPr fontAlgn="t">
              <a:lnSpc>
                <a:spcPts val="1500"/>
              </a:lnSpc>
              <a:buFont typeface="Arial" panose="020B0604020202020204" pitchFamily="34" charset="0"/>
              <a:buChar char="•"/>
            </a:pPr>
            <a:r>
              <a:rPr lang="en-GB" b="0" i="0">
                <a:effectLst/>
                <a:latin typeface="Segoe UI" panose="020B0502040204020203" pitchFamily="34" charset="0"/>
              </a:rPr>
              <a:t>Keep discussion focused on </a:t>
            </a:r>
            <a:r>
              <a:rPr lang="en-GB" b="1" i="0">
                <a:effectLst/>
                <a:latin typeface="Segoe UI" panose="020B0502040204020203" pitchFamily="34" charset="0"/>
              </a:rPr>
              <a:t>evidence and outcomes</a:t>
            </a:r>
            <a:endParaRPr lang="en-GB" b="0" i="0">
              <a:effectLst/>
              <a:latin typeface="Segoe UI" panose="020B0502040204020203" pitchFamily="34" charset="0"/>
            </a:endParaRPr>
          </a:p>
          <a:p>
            <a:pPr fontAlgn="t">
              <a:lnSpc>
                <a:spcPts val="1500"/>
              </a:lnSpc>
              <a:buFont typeface="Arial" panose="020B0604020202020204" pitchFamily="34" charset="0"/>
              <a:buChar char="•"/>
            </a:pPr>
            <a:r>
              <a:rPr lang="en-GB" b="0" i="0">
                <a:effectLst/>
                <a:latin typeface="Segoe UI" panose="020B0502040204020203" pitchFamily="34" charset="0"/>
              </a:rPr>
              <a:t>Capture: </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Suggested changes</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Risks or unintended consequences</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Dependencies or assumptions needing review</a:t>
            </a:r>
          </a:p>
          <a:p>
            <a:endParaRPr lang="en-GB"/>
          </a:p>
        </p:txBody>
      </p:sp>
      <p:sp>
        <p:nvSpPr>
          <p:cNvPr id="4" name="Slide Number Placeholder 3">
            <a:extLst>
              <a:ext uri="{FF2B5EF4-FFF2-40B4-BE49-F238E27FC236}">
                <a16:creationId xmlns:a16="http://schemas.microsoft.com/office/drawing/2014/main" id="{24DCA229-FECE-264F-382B-EE3804527EC3}"/>
              </a:ext>
            </a:extLst>
          </p:cNvPr>
          <p:cNvSpPr>
            <a:spLocks noGrp="1"/>
          </p:cNvSpPr>
          <p:nvPr>
            <p:ph type="sldNum" sz="quarter" idx="5"/>
          </p:nvPr>
        </p:nvSpPr>
        <p:spPr/>
        <p:txBody>
          <a:bodyPr/>
          <a:lstStyle/>
          <a:p>
            <a:fld id="{FCCB5404-C021-EC41-B6A7-4D708E49A9C1}" type="slidenum">
              <a:rPr lang="en-GB" smtClean="0"/>
              <a:t>18</a:t>
            </a:fld>
            <a:endParaRPr lang="en-GB"/>
          </a:p>
        </p:txBody>
      </p:sp>
    </p:spTree>
    <p:extLst>
      <p:ext uri="{BB962C8B-B14F-4D97-AF65-F5344CB8AC3E}">
        <p14:creationId xmlns:p14="http://schemas.microsoft.com/office/powerpoint/2010/main" val="817431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This slide shows how to respond to the consultation</a:t>
            </a:r>
          </a:p>
          <a:p>
            <a:endParaRPr lang="en-US" b="1" i="1"/>
          </a:p>
          <a:p>
            <a:r>
              <a:rPr lang="en-US" b="1" i="1"/>
              <a:t>In terms of the FAQ</a:t>
            </a:r>
            <a:r>
              <a:rPr lang="en-US" i="1"/>
              <a:t>: We’ll attempt to answer all questions received during the webinars and add them to the 'RESP Methodology Consultation FAQs' on the NESO website. The FAQs are updated every two weeks, so please check regularly. </a:t>
            </a:r>
            <a:endParaRPr lang="en-US"/>
          </a:p>
          <a:p>
            <a:r>
              <a:rPr lang="en-US"/>
              <a:t> </a:t>
            </a:r>
            <a:endParaRPr lang="en-GB"/>
          </a:p>
          <a:p>
            <a:r>
              <a:rPr lang="en-US" i="1"/>
              <a:t>If you have a question, please review the consultation document first, as it contains all core information. If your question isn’t covered in the document or FAQs, email </a:t>
            </a:r>
            <a:r>
              <a:rPr lang="en-US" b="1" i="1">
                <a:hlinkClick r:id="rId3"/>
              </a:rPr>
              <a:t>box.consultations.resp@neso.energy</a:t>
            </a:r>
            <a:r>
              <a:rPr lang="en-US" i="1"/>
              <a:t>. Thank you.</a:t>
            </a: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20</a:t>
            </a:fld>
            <a:endParaRPr lang="en-GB"/>
          </a:p>
        </p:txBody>
      </p:sp>
    </p:spTree>
    <p:extLst>
      <p:ext uri="{BB962C8B-B14F-4D97-AF65-F5344CB8AC3E}">
        <p14:creationId xmlns:p14="http://schemas.microsoft.com/office/powerpoint/2010/main" val="1081559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ousekeeping - Transcription will be on but notes will not be shared publicly </a:t>
            </a:r>
          </a:p>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2</a:t>
            </a:fld>
            <a:endParaRPr lang="en-GB"/>
          </a:p>
        </p:txBody>
      </p:sp>
    </p:spTree>
    <p:extLst>
      <p:ext uri="{BB962C8B-B14F-4D97-AF65-F5344CB8AC3E}">
        <p14:creationId xmlns:p14="http://schemas.microsoft.com/office/powerpoint/2010/main" val="30213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nl-NL"/>
          </a:p>
        </p:txBody>
      </p:sp>
      <p:sp>
        <p:nvSpPr>
          <p:cNvPr id="3" name="Notes Placeholder 2"/>
          <p:cNvSpPr>
            <a:spLocks noGrp="1"/>
          </p:cNvSpPr>
          <p:nvPr>
            <p:ph type="body" idx="1"/>
          </p:nvPr>
        </p:nvSpPr>
        <p:spPr/>
        <p:txBody>
          <a:bodyPr/>
          <a:lstStyle/>
          <a:p>
            <a:pPr>
              <a:spcBef>
                <a:spcPts val="1000"/>
              </a:spcBef>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4</a:t>
            </a:fld>
            <a:endParaRPr lang="en-GB"/>
          </a:p>
        </p:txBody>
      </p:sp>
    </p:spTree>
    <p:extLst>
      <p:ext uri="{BB962C8B-B14F-4D97-AF65-F5344CB8AC3E}">
        <p14:creationId xmlns:p14="http://schemas.microsoft.com/office/powerpoint/2010/main" val="267585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765AA-C256-45BA-CE6D-A795801E74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3569FB-790B-1BB3-DD91-9D4CDDCCBE0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5A96761-285B-0182-5715-76D689445FB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BE25287-370A-160B-3859-5EDFC8DF55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319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765AA-C256-45BA-CE6D-A795801E74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3569FB-790B-1BB3-DD91-9D4CDDCCBE0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5A96761-285B-0182-5715-76D689445FB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BE25287-370A-160B-3859-5EDFC8DF55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319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5A2FD-607D-125E-ACB8-E7FCA2606F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02E1E9-7B6C-2FAC-F43E-9B76FA7E4AAB}"/>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9B7A066-4807-3446-0DAC-9DFA624C2E9D}"/>
              </a:ext>
            </a:extLst>
          </p:cNvPr>
          <p:cNvSpPr>
            <a:spLocks noGrp="1"/>
          </p:cNvSpPr>
          <p:nvPr>
            <p:ph type="body" idx="1"/>
          </p:nvPr>
        </p:nvSpPr>
        <p:spPr/>
        <p:txBody>
          <a:bodyPr/>
          <a:lstStyle/>
          <a:p>
            <a:pPr marL="228600" indent="-228600" algn="just">
              <a:lnSpc>
                <a:spcPct val="150000"/>
              </a:lnSpc>
              <a:buFont typeface="+mj-lt"/>
              <a:buAutoNum type="arabicPeriod"/>
            </a:pPr>
            <a:r>
              <a:rPr lang="en-GB" sz="1200" b="1" kern="100">
                <a:latin typeface="Poppins"/>
                <a:ea typeface="Arial" panose="020B0604020202020204" pitchFamily="34" charset="0"/>
                <a:cs typeface="Arial"/>
              </a:rPr>
              <a:t>Supporting the identification of system needs </a:t>
            </a:r>
            <a:r>
              <a:rPr lang="en-GB" sz="1200" kern="100">
                <a:latin typeface="Poppins"/>
                <a:ea typeface="Arial" panose="020B0604020202020204" pitchFamily="34" charset="0"/>
                <a:cs typeface="Arial"/>
              </a:rPr>
              <a:t>where proactive intervention may be required </a:t>
            </a:r>
            <a:endParaRPr lang="en-GB" sz="1200" kern="100">
              <a:effectLst/>
              <a:latin typeface="Poppins"/>
              <a:ea typeface="Arial" panose="020B0604020202020204" pitchFamily="34" charset="0"/>
              <a:cs typeface="Arial"/>
            </a:endParaRPr>
          </a:p>
          <a:p>
            <a:pPr marL="228600" indent="-228600" algn="just">
              <a:lnSpc>
                <a:spcPct val="150000"/>
              </a:lnSpc>
              <a:buFont typeface="+mj-lt"/>
              <a:buAutoNum type="arabicPeriod"/>
            </a:pPr>
            <a:r>
              <a:rPr lang="en-GB" sz="1200" b="1" kern="100">
                <a:effectLst/>
                <a:latin typeface="Poppins"/>
                <a:ea typeface="Arial" panose="020B0604020202020204" pitchFamily="34" charset="0"/>
                <a:cs typeface="Arial"/>
              </a:rPr>
              <a:t>Supporting the identification of </a:t>
            </a:r>
            <a:r>
              <a:rPr lang="en-GB" sz="1200" b="1" kern="100">
                <a:latin typeface="Poppins"/>
                <a:ea typeface="Arial" panose="020B0604020202020204" pitchFamily="34" charset="0"/>
                <a:cs typeface="Arial"/>
              </a:rPr>
              <a:t>Strategic</a:t>
            </a:r>
            <a:r>
              <a:rPr lang="en-GB" sz="1200" b="1" kern="100">
                <a:effectLst/>
                <a:latin typeface="Poppins"/>
                <a:ea typeface="Arial" panose="020B0604020202020204" pitchFamily="34" charset="0"/>
                <a:cs typeface="Arial"/>
              </a:rPr>
              <a:t> </a:t>
            </a:r>
            <a:r>
              <a:rPr lang="en-GB" sz="1200" b="1" kern="100">
                <a:latin typeface="Poppins"/>
                <a:ea typeface="Arial" panose="020B0604020202020204" pitchFamily="34" charset="0"/>
                <a:cs typeface="Arial"/>
              </a:rPr>
              <a:t>Investment</a:t>
            </a:r>
            <a:r>
              <a:rPr lang="en-GB" sz="1200" b="1" kern="100">
                <a:effectLst/>
                <a:latin typeface="Poppins"/>
                <a:ea typeface="Arial" panose="020B0604020202020204" pitchFamily="34" charset="0"/>
                <a:cs typeface="Arial"/>
              </a:rPr>
              <a:t> </a:t>
            </a:r>
            <a:r>
              <a:rPr lang="en-GB" sz="1200" b="1" kern="100">
                <a:latin typeface="Poppins"/>
                <a:ea typeface="Arial" panose="020B0604020202020204" pitchFamily="34" charset="0"/>
                <a:cs typeface="Arial"/>
              </a:rPr>
              <a:t>Needs</a:t>
            </a:r>
            <a:r>
              <a:rPr lang="en-GB" sz="1200" b="1" kern="100">
                <a:effectLst/>
                <a:latin typeface="Poppins"/>
                <a:ea typeface="Arial" panose="020B0604020202020204" pitchFamily="34" charset="0"/>
                <a:cs typeface="Arial"/>
              </a:rPr>
              <a:t> </a:t>
            </a:r>
            <a:r>
              <a:rPr lang="en-GB" sz="1200" kern="100">
                <a:effectLst/>
                <a:latin typeface="Poppins"/>
                <a:ea typeface="Arial" panose="020B0604020202020204" pitchFamily="34" charset="0"/>
                <a:cs typeface="Arial"/>
              </a:rPr>
              <a:t>across the gas distribution networks</a:t>
            </a:r>
            <a:r>
              <a:rPr lang="en-GB" sz="1200" kern="100">
                <a:latin typeface="Poppins"/>
                <a:ea typeface="Arial" panose="020B0604020202020204" pitchFamily="34" charset="0"/>
                <a:cs typeface="Arial"/>
              </a:rPr>
              <a:t> (note the </a:t>
            </a:r>
            <a:r>
              <a:rPr lang="en-GB" sz="1200" kern="100">
                <a:effectLst/>
                <a:latin typeface="Poppins"/>
                <a:ea typeface="Arial" panose="020B0604020202020204" pitchFamily="34" charset="0"/>
                <a:cs typeface="Arial"/>
              </a:rPr>
              <a:t>final decision of how areas of </a:t>
            </a:r>
            <a:r>
              <a:rPr lang="en-GB" sz="1200" kern="100">
                <a:latin typeface="Poppins"/>
                <a:ea typeface="Arial" panose="020B0604020202020204" pitchFamily="34" charset="0"/>
                <a:cs typeface="Arial"/>
              </a:rPr>
              <a:t>Strategic Investment Need</a:t>
            </a:r>
            <a:r>
              <a:rPr lang="en-GB" sz="1200" kern="100">
                <a:effectLst/>
                <a:latin typeface="Poppins"/>
                <a:ea typeface="Arial" panose="020B0604020202020204" pitchFamily="34" charset="0"/>
                <a:cs typeface="Arial"/>
              </a:rPr>
              <a:t> are implemented within network planning processes and price control mechanisms remaining with Ofgem through its regulatory and policy frameworks.)</a:t>
            </a:r>
          </a:p>
          <a:p>
            <a:pPr marL="228600" marR="0" indent="-228600" algn="just">
              <a:lnSpc>
                <a:spcPct val="150000"/>
              </a:lnSpc>
              <a:buFont typeface="+mj-lt"/>
              <a:buAutoNum type="arabicPeriod"/>
            </a:pPr>
            <a:r>
              <a:rPr lang="en-GB" sz="1200" b="1" kern="100">
                <a:effectLst/>
                <a:latin typeface="Poppins"/>
                <a:ea typeface="Arial" panose="020B0604020202020204" pitchFamily="34" charset="0"/>
                <a:cs typeface="Arial"/>
              </a:rPr>
              <a:t>NESO will continue to collaborate with GDNs </a:t>
            </a:r>
            <a:r>
              <a:rPr lang="en-GB" sz="1200" kern="100">
                <a:effectLst/>
                <a:latin typeface="Poppins"/>
                <a:ea typeface="Arial" panose="020B0604020202020204" pitchFamily="34" charset="0"/>
                <a:cs typeface="Arial"/>
              </a:rPr>
              <a:t>to develop the necessary peak gas demand network modelling methodology for Spatial Context, noting that NESO’s proposal for GDNs to utilise RESP Pathways and CPAs within Spatial Context to model peak gas demand does not supersede or replace these existing methodologies and responsibilities.    </a:t>
            </a:r>
          </a:p>
          <a:p>
            <a:endParaRPr lang="en-GB"/>
          </a:p>
        </p:txBody>
      </p:sp>
      <p:sp>
        <p:nvSpPr>
          <p:cNvPr id="4" name="Slide Number Placeholder 3">
            <a:extLst>
              <a:ext uri="{FF2B5EF4-FFF2-40B4-BE49-F238E27FC236}">
                <a16:creationId xmlns:a16="http://schemas.microsoft.com/office/drawing/2014/main" id="{393DCAE9-50A5-6235-561E-860B229801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60350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F6CF4-8C50-E859-1166-CF46D4204E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46C540-C4CC-D87C-965B-27F48658FF8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1341E2B-5EE3-355D-093A-7874AD97B5BE}"/>
              </a:ext>
            </a:extLst>
          </p:cNvPr>
          <p:cNvSpPr>
            <a:spLocks noGrp="1"/>
          </p:cNvSpPr>
          <p:nvPr>
            <p:ph type="body" idx="1"/>
          </p:nvPr>
        </p:nvSpPr>
        <p:spPr/>
        <p:txBody>
          <a:bodyPr/>
          <a:lstStyle/>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Biomethane is typically supplied onto gas distribution networks under firm injection profiles, resulting in limited flexibility to adjust supply to meet changes in demand. This can result in network constraints during periods of seasonal minimum demand and may prevent biomethane producers from being able to inject their supplies onto the local gas distribution network.</a:t>
            </a:r>
          </a:p>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Facilitating an increasingly proactive approach to identification of system needs where biomethane connection enquiries may emerge.  </a:t>
            </a:r>
          </a:p>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NESO considers that GDNs are best placed to model the interaction between projected biomethane supply against projected minimum demand across their networks following provision of RESP Pathway outputs and Consistent Planning Assumptions. </a:t>
            </a:r>
            <a:endParaRPr lang="en-GB" sz="1200" kern="100">
              <a:effectLst/>
              <a:latin typeface="Poppins" panose="00000500000000000000" pitchFamily="2" charset="0"/>
              <a:ea typeface="Arial" panose="020B0604020202020204" pitchFamily="34" charset="0"/>
              <a:cs typeface="Arial" panose="020B0604020202020204" pitchFamily="34" charset="0"/>
            </a:endParaRPr>
          </a:p>
          <a:p>
            <a:endParaRPr lang="en-GB"/>
          </a:p>
        </p:txBody>
      </p:sp>
      <p:sp>
        <p:nvSpPr>
          <p:cNvPr id="4" name="Slide Number Placeholder 3">
            <a:extLst>
              <a:ext uri="{FF2B5EF4-FFF2-40B4-BE49-F238E27FC236}">
                <a16:creationId xmlns:a16="http://schemas.microsoft.com/office/drawing/2014/main" id="{F15C5EB4-497C-608F-2E20-55C7539C63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03997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7CD973-B2AF-A753-2502-BC306BF36F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EF3E14-1ABC-FF93-3878-4EF4A371B09E}"/>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F2974A3-02FD-C3D1-3BF7-24FDBB322D35}"/>
              </a:ext>
            </a:extLst>
          </p:cNvPr>
          <p:cNvSpPr>
            <a:spLocks noGrp="1"/>
          </p:cNvSpPr>
          <p:nvPr>
            <p:ph type="body" idx="1"/>
          </p:nvPr>
        </p:nvSpPr>
        <p:spPr/>
        <p:txBody>
          <a:bodyPr/>
          <a:lstStyle/>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Medium Pressure entry assets operate at the interface between the medium (below 2 bar) and the intermediate/high pressure (above 2 bar) gas distribution systems. Modelling the RESP Pathways data at this asset granularity will enable stakeholders to interrogate how gas network capacities may change over time. This includes identification of system needs across RESP Regions and Nations where further strategic investment may be required.</a:t>
            </a:r>
          </a:p>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Throughout the development of the proposed approach, NESO evaluated the value of providing a network-based view at higher asset granularities across the gas distribution network. GDNs indicated that it may be valuable to present a view at the Local Transmission System (LTS) level, comprising of the above 7 bar network. </a:t>
            </a:r>
          </a:p>
          <a:p>
            <a:pPr marL="228600" indent="-228600" algn="just">
              <a:lnSpc>
                <a:spcPct val="150000"/>
              </a:lnSpc>
              <a:buFont typeface="+mj-lt"/>
              <a:buAutoNum type="arabicPeriod"/>
            </a:pPr>
            <a:r>
              <a:rPr lang="en-US" sz="1200" kern="100">
                <a:latin typeface="Poppins" panose="00000500000000000000" pitchFamily="2" charset="0"/>
                <a:ea typeface="Arial" panose="020B0604020202020204" pitchFamily="34" charset="0"/>
                <a:cs typeface="Arial" panose="020B0604020202020204" pitchFamily="34" charset="0"/>
              </a:rPr>
              <a:t>NESO acknowledges some of the benefits associated with this view, including a reduction in the volume of data modelling; however, our proposed approach provides added value by enabling stakeholders to visualise biomethane connections at the pressure tier connections are typically made, as well as how gas networks may change at a fine granularity within each RESP region and nation. The approach closely aligns with the level of asset granularity being developed in parallel by Electricity Distribution Networks Operators (DNOs) when modelling Peak Electricity Demand at Primary Substations. </a:t>
            </a:r>
          </a:p>
          <a:p>
            <a:endParaRPr lang="en-GB"/>
          </a:p>
        </p:txBody>
      </p:sp>
      <p:sp>
        <p:nvSpPr>
          <p:cNvPr id="4" name="Slide Number Placeholder 3">
            <a:extLst>
              <a:ext uri="{FF2B5EF4-FFF2-40B4-BE49-F238E27FC236}">
                <a16:creationId xmlns:a16="http://schemas.microsoft.com/office/drawing/2014/main" id="{9521006A-53C2-96FD-7F93-5DFE1514A0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1440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lnSpc>
                <a:spcPts val="1500"/>
              </a:lnSpc>
              <a:buNone/>
            </a:pPr>
            <a:r>
              <a:rPr lang="en-GB" b="1" i="0">
                <a:effectLst/>
                <a:latin typeface="Segoe UI" panose="020B0502040204020203" pitchFamily="34" charset="0"/>
              </a:rPr>
              <a:t>Guidance for facilitators:</a:t>
            </a:r>
            <a:endParaRPr lang="en-GB" b="0" i="0">
              <a:effectLst/>
              <a:latin typeface="Segoe UI" panose="020B0502040204020203" pitchFamily="34" charset="0"/>
            </a:endParaRPr>
          </a:p>
          <a:p>
            <a:pPr fontAlgn="t">
              <a:lnSpc>
                <a:spcPts val="1500"/>
              </a:lnSpc>
              <a:buFont typeface="Arial" panose="020B0604020202020204" pitchFamily="34" charset="0"/>
              <a:buChar char="•"/>
            </a:pPr>
            <a:r>
              <a:rPr lang="en-GB" b="0" i="0">
                <a:effectLst/>
                <a:latin typeface="Segoe UI" panose="020B0502040204020203" pitchFamily="34" charset="0"/>
              </a:rPr>
              <a:t>Keep discussion focused on </a:t>
            </a:r>
            <a:r>
              <a:rPr lang="en-GB" b="1" i="0">
                <a:effectLst/>
                <a:latin typeface="Segoe UI" panose="020B0502040204020203" pitchFamily="34" charset="0"/>
              </a:rPr>
              <a:t>evidence and outcomes</a:t>
            </a:r>
            <a:endParaRPr lang="en-GB" b="0" i="0">
              <a:effectLst/>
              <a:latin typeface="Segoe UI" panose="020B0502040204020203" pitchFamily="34" charset="0"/>
            </a:endParaRPr>
          </a:p>
          <a:p>
            <a:pPr fontAlgn="t">
              <a:lnSpc>
                <a:spcPts val="1500"/>
              </a:lnSpc>
              <a:buFont typeface="Arial" panose="020B0604020202020204" pitchFamily="34" charset="0"/>
              <a:buChar char="•"/>
            </a:pPr>
            <a:r>
              <a:rPr lang="en-GB" b="0" i="0">
                <a:effectLst/>
                <a:latin typeface="Segoe UI" panose="020B0502040204020203" pitchFamily="34" charset="0"/>
              </a:rPr>
              <a:t>Capture: </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Suggested changes</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Risks or unintended consequences</a:t>
            </a:r>
          </a:p>
          <a:p>
            <a:pPr marL="742950" lvl="1" indent="-285750" fontAlgn="t">
              <a:lnSpc>
                <a:spcPts val="1500"/>
              </a:lnSpc>
              <a:buFont typeface="Arial" panose="020B0604020202020204" pitchFamily="34" charset="0"/>
              <a:buChar char="•"/>
            </a:pPr>
            <a:r>
              <a:rPr lang="en-GB" b="0" i="0">
                <a:effectLst/>
                <a:latin typeface="Segoe UI" panose="020B0502040204020203" pitchFamily="34" charset="0"/>
              </a:rPr>
              <a:t>Dependencies or assumptions needing review</a:t>
            </a:r>
          </a:p>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5</a:t>
            </a:fld>
            <a:endParaRPr lang="en-GB"/>
          </a:p>
        </p:txBody>
      </p:sp>
    </p:spTree>
    <p:extLst>
      <p:ext uri="{BB962C8B-B14F-4D97-AF65-F5344CB8AC3E}">
        <p14:creationId xmlns:p14="http://schemas.microsoft.com/office/powerpoint/2010/main" val="12337451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lnSpc>
                <a:spcPct val="100000"/>
              </a:lnSpc>
              <a:buNone/>
              <a:defRPr sz="2400" b="0" i="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Confidential</a:t>
            </a:r>
          </a:p>
        </p:txBody>
      </p:sp>
    </p:spTree>
    <p:extLst>
      <p:ext uri="{BB962C8B-B14F-4D97-AF65-F5344CB8AC3E}">
        <p14:creationId xmlns:p14="http://schemas.microsoft.com/office/powerpoint/2010/main" val="1130507320"/>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102210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lnSpc>
                <a:spcPct val="100000"/>
              </a:lnSpc>
              <a:buNone/>
              <a:defRPr sz="1800" b="0" i="0">
                <a:latin typeface="Poppins" panose="00000500000000000000" pitchFamily="2"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277457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lnSpc>
                <a:spcPct val="100000"/>
              </a:lnSpc>
              <a:defRPr sz="2400" b="1" i="0">
                <a:solidFill>
                  <a:schemeClr val="tx2"/>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lnSpc>
                <a:spcPct val="100000"/>
              </a:lnSpc>
              <a:buNone/>
              <a:defRPr sz="1800" b="0" i="0">
                <a:solidFill>
                  <a:schemeClr val="tx2"/>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3705412"/>
            <a:ext cx="4924348" cy="2533022"/>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99FC7CDA-B960-84B9-491F-1ED79E41FEC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anose="00000500000000000000" pitchFamily="2" charset="0"/>
              </a:rPr>
              <a:t>Confidential</a:t>
            </a:r>
          </a:p>
        </p:txBody>
      </p:sp>
    </p:spTree>
    <p:extLst>
      <p:ext uri="{BB962C8B-B14F-4D97-AF65-F5344CB8AC3E}">
        <p14:creationId xmlns:p14="http://schemas.microsoft.com/office/powerpoint/2010/main" val="4145988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0151B4C6-43AE-215F-1AA7-EA59E6BFC9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353672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tx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tx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798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09BADDA3-0942-7593-9CD1-65C17C30CD4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8106548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00950CE-BF57-F141-1E4B-5E561804F48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32419520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898F9D1-B0EF-AE36-DB04-7692115EF1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90390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F45BE1D4-0CA5-EF7F-31DA-EF1E68C5FAE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3775619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AA502BE5-984B-7BC2-8798-A6E4E9C95C0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22404685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14396"/>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3D5B6A69-3EFA-0DA9-F9BA-B59F5A060E7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Confidential</a:t>
            </a:r>
          </a:p>
        </p:txBody>
      </p:sp>
    </p:spTree>
    <p:extLst>
      <p:ext uri="{BB962C8B-B14F-4D97-AF65-F5344CB8AC3E}">
        <p14:creationId xmlns:p14="http://schemas.microsoft.com/office/powerpoint/2010/main" val="3186701918"/>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A79C0364-C6AF-A244-BAED-37AD26D11D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3767523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22C92AB-CE37-3685-78BC-89E7D5E966F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20245240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DB903B73-DEBD-E77C-5002-748408255D3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22097517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CF6E8F8B-EFF1-8BE5-531B-11D2F646C39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6207170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7776B989-9632-966E-9D46-52E392FACE6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2306491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5"/>
        </a:solidFill>
        <a:effectLst/>
      </p:bgPr>
    </p:bg>
    <p:spTree>
      <p:nvGrpSpPr>
        <p:cNvPr id="1" name=""/>
        <p:cNvGrpSpPr/>
        <p:nvPr/>
      </p:nvGrpSpPr>
      <p:grpSpPr>
        <a:xfrm>
          <a:off x="0" y="0"/>
          <a:ext cx="0" cy="0"/>
          <a:chOff x="0" y="0"/>
          <a:chExt cx="0" cy="0"/>
        </a:xfrm>
      </p:grpSpPr>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1A00439-5CC6-1C5A-00EC-8D4C6105E9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4197265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12CD634-720B-22FB-D616-C76601F5BDB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416541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E4AC9B01-BBC9-948B-802D-496ECF26B66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40320483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0"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7"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76F9B93-B63E-213D-E4D7-F5497F46DC5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3808884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1D4205CA-D724-DCB8-624A-C93E9CB0F73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332924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38302"/>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8CE7D7CF-C797-0730-D6E9-1DA5A9C6DB9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Confidential</a:t>
            </a:r>
          </a:p>
        </p:txBody>
      </p:sp>
    </p:spTree>
    <p:extLst>
      <p:ext uri="{BB962C8B-B14F-4D97-AF65-F5344CB8AC3E}">
        <p14:creationId xmlns:p14="http://schemas.microsoft.com/office/powerpoint/2010/main" val="2641072897"/>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821EC10A-443B-78A4-9438-F5285F49C5E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127700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lnSpc>
                <a:spcPct val="100000"/>
              </a:lnSpc>
              <a:buNone/>
              <a:defRPr sz="2400" b="0" i="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3033708169"/>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14396"/>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3D5B6A69-3EFA-0DA9-F9BA-B59F5A060E7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2109450045"/>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38302"/>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8CE7D7CF-C797-0730-D6E9-1DA5A9C6DB9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943117624"/>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lnSpc>
                <a:spcPct val="100000"/>
              </a:lnSpc>
              <a:buClr>
                <a:schemeClr val="accent1"/>
              </a:buClr>
              <a:buFont typeface="+mj-lt"/>
              <a:buAutoNum type="arabicPeriod"/>
              <a:defRPr sz="2000" b="0" i="0">
                <a:solidFill>
                  <a:schemeClr val="bg1"/>
                </a:solidFill>
                <a:latin typeface="+mj-lt"/>
              </a:defRPr>
            </a:lvl1pPr>
            <a:lvl2pPr marL="914400" indent="-457200">
              <a:lnSpc>
                <a:spcPct val="100000"/>
              </a:lnSpc>
              <a:buClr>
                <a:schemeClr val="accent1"/>
              </a:buClr>
              <a:buFont typeface="+mj-lt"/>
              <a:buAutoNum type="arabicPeriod"/>
              <a:defRPr sz="1400" b="0" i="0">
                <a:solidFill>
                  <a:schemeClr val="bg1"/>
                </a:solidFill>
                <a:latin typeface="+mj-lt"/>
              </a:defRPr>
            </a:lvl2pPr>
            <a:lvl3pPr marL="1371600" indent="-457200">
              <a:lnSpc>
                <a:spcPct val="100000"/>
              </a:lnSpc>
              <a:buClr>
                <a:schemeClr val="accent1"/>
              </a:buClr>
              <a:buFont typeface="+mj-lt"/>
              <a:buAutoNum type="arabicPeriod"/>
              <a:defRPr sz="1400" b="0" i="0">
                <a:solidFill>
                  <a:schemeClr val="bg1"/>
                </a:solidFill>
                <a:latin typeface="+mj-lt"/>
              </a:defRPr>
            </a:lvl3pPr>
            <a:lvl4pPr marL="1714500" indent="-342900">
              <a:lnSpc>
                <a:spcPct val="100000"/>
              </a:lnSpc>
              <a:buClr>
                <a:schemeClr val="accent1"/>
              </a:buClr>
              <a:buFont typeface="+mj-lt"/>
              <a:buAutoNum type="arabicPeriod"/>
              <a:defRPr sz="1400" b="0" i="0">
                <a:solidFill>
                  <a:schemeClr val="bg1"/>
                </a:solidFill>
                <a:latin typeface="+mj-lt"/>
              </a:defRPr>
            </a:lvl4pPr>
            <a:lvl5pPr marL="2171700" indent="-342900">
              <a:lnSpc>
                <a:spcPct val="100000"/>
              </a:lnSpc>
              <a:buClr>
                <a:schemeClr val="accent1"/>
              </a:buClr>
              <a:buFont typeface="+mj-lt"/>
              <a:buAutoNum type="arabicPeriod"/>
              <a:defRPr sz="1400" b="0" i="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F013E0C3-A748-7D68-BE91-F314B5D2289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mj-lt"/>
              </a:rPr>
              <a:t>Public</a:t>
            </a:r>
          </a:p>
        </p:txBody>
      </p:sp>
    </p:spTree>
    <p:extLst>
      <p:ext uri="{BB962C8B-B14F-4D97-AF65-F5344CB8AC3E}">
        <p14:creationId xmlns:p14="http://schemas.microsoft.com/office/powerpoint/2010/main" val="15904054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lnSpc>
                <a:spcPct val="100000"/>
              </a:lnSpc>
              <a:buFont typeface="+mj-lt"/>
              <a:buAutoNum type="arabicPeriod"/>
              <a:defRPr b="0" i="0">
                <a:latin typeface="+mj-lt"/>
              </a:defRPr>
            </a:lvl1pPr>
            <a:lvl2pPr marL="914400" indent="-457200">
              <a:lnSpc>
                <a:spcPct val="100000"/>
              </a:lnSpc>
              <a:buFont typeface="+mj-lt"/>
              <a:buAutoNum type="arabicPeriod"/>
              <a:defRPr b="0" i="0">
                <a:latin typeface="+mj-lt"/>
              </a:defRPr>
            </a:lvl2pPr>
            <a:lvl3pPr marL="1371600" indent="-457200">
              <a:lnSpc>
                <a:spcPct val="100000"/>
              </a:lnSpc>
              <a:buFont typeface="+mj-lt"/>
              <a:buAutoNum type="arabicPeriod"/>
              <a:defRPr b="0" i="0">
                <a:latin typeface="+mj-lt"/>
              </a:defRPr>
            </a:lvl3pPr>
            <a:lvl4pPr marL="1714500" indent="-342900">
              <a:lnSpc>
                <a:spcPct val="100000"/>
              </a:lnSpc>
              <a:buFont typeface="+mj-lt"/>
              <a:buAutoNum type="arabicPeriod"/>
              <a:defRPr b="0" i="0">
                <a:latin typeface="+mj-lt"/>
              </a:defRPr>
            </a:lvl4pPr>
            <a:lvl5pPr marL="2171700" indent="-342900">
              <a:lnSpc>
                <a:spcPct val="100000"/>
              </a:lnSpc>
              <a:buFont typeface="+mj-lt"/>
              <a:buAutoNum type="arabicPeriod"/>
              <a:defRPr b="0" i="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9867951"/>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lnSpc>
                <a:spcPct val="100000"/>
              </a:lnSpc>
              <a:buNone/>
              <a:defRPr sz="1800" b="0" i="0">
                <a:latin typeface="+mj-lt"/>
              </a:defRPr>
            </a:lvl1pPr>
          </a:lstStyle>
          <a:p>
            <a:pPr lvl="0"/>
            <a:r>
              <a:rPr lang="en-US"/>
              <a:t>Click to edit Master text styles</a:t>
            </a:r>
          </a:p>
        </p:txBody>
      </p:sp>
    </p:spTree>
    <p:extLst>
      <p:ext uri="{BB962C8B-B14F-4D97-AF65-F5344CB8AC3E}">
        <p14:creationId xmlns:p14="http://schemas.microsoft.com/office/powerpoint/2010/main" val="33008431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Box 3">
            <a:extLst>
              <a:ext uri="{FF2B5EF4-FFF2-40B4-BE49-F238E27FC236}">
                <a16:creationId xmlns:a16="http://schemas.microsoft.com/office/drawing/2014/main" id="{E8D4C74B-144E-7E2B-4291-551B406C7D8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6159605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Tree>
    <p:extLst>
      <p:ext uri="{BB962C8B-B14F-4D97-AF65-F5344CB8AC3E}">
        <p14:creationId xmlns:p14="http://schemas.microsoft.com/office/powerpoint/2010/main" val="8951596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TextBox 6">
            <a:extLst>
              <a:ext uri="{FF2B5EF4-FFF2-40B4-BE49-F238E27FC236}">
                <a16:creationId xmlns:a16="http://schemas.microsoft.com/office/drawing/2014/main" id="{694906BF-78B9-810A-C6ED-E1A8EB4F8E8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41633153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lnSpc>
                <a:spcPct val="100000"/>
              </a:lnSpc>
              <a:buClr>
                <a:schemeClr val="accent1"/>
              </a:buClr>
              <a:buFont typeface="+mj-lt"/>
              <a:buAutoNum type="arabicPeriod"/>
              <a:defRPr sz="2000" b="0" i="0">
                <a:solidFill>
                  <a:schemeClr val="bg1"/>
                </a:solidFill>
                <a:latin typeface="+mj-lt"/>
              </a:defRPr>
            </a:lvl1pPr>
            <a:lvl2pPr marL="914400" indent="-457200">
              <a:lnSpc>
                <a:spcPct val="100000"/>
              </a:lnSpc>
              <a:buClr>
                <a:schemeClr val="accent1"/>
              </a:buClr>
              <a:buFont typeface="+mj-lt"/>
              <a:buAutoNum type="arabicPeriod"/>
              <a:defRPr sz="1400" b="0" i="0">
                <a:solidFill>
                  <a:schemeClr val="bg1"/>
                </a:solidFill>
                <a:latin typeface="+mj-lt"/>
              </a:defRPr>
            </a:lvl2pPr>
            <a:lvl3pPr marL="1371600" indent="-457200">
              <a:lnSpc>
                <a:spcPct val="100000"/>
              </a:lnSpc>
              <a:buClr>
                <a:schemeClr val="accent1"/>
              </a:buClr>
              <a:buFont typeface="+mj-lt"/>
              <a:buAutoNum type="arabicPeriod"/>
              <a:defRPr sz="1400" b="0" i="0">
                <a:solidFill>
                  <a:schemeClr val="bg1"/>
                </a:solidFill>
                <a:latin typeface="+mj-lt"/>
              </a:defRPr>
            </a:lvl3pPr>
            <a:lvl4pPr marL="1714500" indent="-342900">
              <a:lnSpc>
                <a:spcPct val="100000"/>
              </a:lnSpc>
              <a:buClr>
                <a:schemeClr val="accent1"/>
              </a:buClr>
              <a:buFont typeface="+mj-lt"/>
              <a:buAutoNum type="arabicPeriod"/>
              <a:defRPr sz="1400" b="0" i="0">
                <a:solidFill>
                  <a:schemeClr val="bg1"/>
                </a:solidFill>
                <a:latin typeface="+mj-lt"/>
              </a:defRPr>
            </a:lvl4pPr>
            <a:lvl5pPr marL="2171700" indent="-342900">
              <a:lnSpc>
                <a:spcPct val="100000"/>
              </a:lnSpc>
              <a:buClr>
                <a:schemeClr val="accent1"/>
              </a:buClr>
              <a:buFont typeface="+mj-lt"/>
              <a:buAutoNum type="arabicPeriod"/>
              <a:defRPr sz="1400" b="0" i="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F013E0C3-A748-7D68-BE91-F314B5D2289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mj-lt"/>
              </a:rPr>
              <a:t>Confidential</a:t>
            </a:r>
          </a:p>
        </p:txBody>
      </p:sp>
    </p:spTree>
    <p:extLst>
      <p:ext uri="{BB962C8B-B14F-4D97-AF65-F5344CB8AC3E}">
        <p14:creationId xmlns:p14="http://schemas.microsoft.com/office/powerpoint/2010/main" val="2689161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9053000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lnSpc>
                <a:spcPct val="100000"/>
              </a:lnSpc>
              <a:buNone/>
              <a:defRPr sz="1800" b="0" i="0">
                <a:latin typeface="Poppins" panose="00000500000000000000" pitchFamily="2"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2048986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lnSpc>
                <a:spcPct val="100000"/>
              </a:lnSpc>
              <a:defRPr sz="2400" b="1" i="0">
                <a:solidFill>
                  <a:schemeClr val="tx2"/>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lnSpc>
                <a:spcPct val="100000"/>
              </a:lnSpc>
              <a:buNone/>
              <a:defRPr sz="1800" b="0" i="0">
                <a:solidFill>
                  <a:schemeClr val="tx2"/>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3705412"/>
            <a:ext cx="4924348" cy="2533022"/>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99FC7CDA-B960-84B9-491F-1ED79E41FEC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anose="00000500000000000000" pitchFamily="2" charset="0"/>
              </a:rPr>
              <a:t>Public</a:t>
            </a:r>
          </a:p>
        </p:txBody>
      </p:sp>
    </p:spTree>
    <p:extLst>
      <p:ext uri="{BB962C8B-B14F-4D97-AF65-F5344CB8AC3E}">
        <p14:creationId xmlns:p14="http://schemas.microsoft.com/office/powerpoint/2010/main" val="21999508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0151B4C6-43AE-215F-1AA7-EA59E6BFC9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288427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tx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tx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092784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09BADDA3-0942-7593-9CD1-65C17C30CD4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12127585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00950CE-BF57-F141-1E4B-5E561804F48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4821820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898F9D1-B0EF-AE36-DB04-7692115EF1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11804545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F45BE1D4-0CA5-EF7F-31DA-EF1E68C5FAE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4375819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AA502BE5-984B-7BC2-8798-A6E4E9C95C0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7587396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lnSpc>
                <a:spcPct val="100000"/>
              </a:lnSpc>
              <a:buFont typeface="+mj-lt"/>
              <a:buAutoNum type="arabicPeriod"/>
              <a:defRPr b="0" i="0">
                <a:latin typeface="+mj-lt"/>
              </a:defRPr>
            </a:lvl1pPr>
            <a:lvl2pPr marL="914400" indent="-457200">
              <a:lnSpc>
                <a:spcPct val="100000"/>
              </a:lnSpc>
              <a:buFont typeface="+mj-lt"/>
              <a:buAutoNum type="arabicPeriod"/>
              <a:defRPr b="0" i="0">
                <a:latin typeface="+mj-lt"/>
              </a:defRPr>
            </a:lvl2pPr>
            <a:lvl3pPr marL="1371600" indent="-457200">
              <a:lnSpc>
                <a:spcPct val="100000"/>
              </a:lnSpc>
              <a:buFont typeface="+mj-lt"/>
              <a:buAutoNum type="arabicPeriod"/>
              <a:defRPr b="0" i="0">
                <a:latin typeface="+mj-lt"/>
              </a:defRPr>
            </a:lvl3pPr>
            <a:lvl4pPr marL="1714500" indent="-342900">
              <a:lnSpc>
                <a:spcPct val="100000"/>
              </a:lnSpc>
              <a:buFont typeface="+mj-lt"/>
              <a:buAutoNum type="arabicPeriod"/>
              <a:defRPr b="0" i="0">
                <a:latin typeface="+mj-lt"/>
              </a:defRPr>
            </a:lvl4pPr>
            <a:lvl5pPr marL="2171700" indent="-342900">
              <a:lnSpc>
                <a:spcPct val="100000"/>
              </a:lnSpc>
              <a:buFont typeface="+mj-lt"/>
              <a:buAutoNum type="arabicPeriod"/>
              <a:defRPr b="0" i="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id="{A448E242-1335-ADC0-4F3E-3E997A0F6355}"/>
              </a:ext>
            </a:extLst>
          </p:cNvPr>
          <p:cNvSpPr/>
          <p:nvPr userDrawn="1"/>
        </p:nvSpPr>
        <p:spPr>
          <a:xfrm>
            <a:off x="495656" y="136733"/>
            <a:ext cx="1316052" cy="3161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25705119"/>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A79C0364-C6AF-A244-BAED-37AD26D11D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7720319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22C92AB-CE37-3685-78BC-89E7D5E966F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5927237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DB903B73-DEBD-E77C-5002-748408255D3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814153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CF6E8F8B-EFF1-8BE5-531B-11D2F646C39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421566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7776B989-9632-966E-9D46-52E392FACE6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433603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5"/>
        </a:solidFill>
        <a:effectLst/>
      </p:bgPr>
    </p:bg>
    <p:spTree>
      <p:nvGrpSpPr>
        <p:cNvPr id="1" name=""/>
        <p:cNvGrpSpPr/>
        <p:nvPr/>
      </p:nvGrpSpPr>
      <p:grpSpPr>
        <a:xfrm>
          <a:off x="0" y="0"/>
          <a:ext cx="0" cy="0"/>
          <a:chOff x="0" y="0"/>
          <a:chExt cx="0" cy="0"/>
        </a:xfrm>
      </p:grpSpPr>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1A00439-5CC6-1C5A-00EC-8D4C6105E9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6507344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12CD634-720B-22FB-D616-C76601F5BDB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4288409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E4AC9B01-BBC9-948B-802D-496ECF26B66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8959068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0"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7"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76F9B93-B63E-213D-E4D7-F5497F46DC5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4383761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1D4205CA-D724-DCB8-624A-C93E9CB0F73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2185708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lnSpc>
                <a:spcPct val="100000"/>
              </a:lnSpc>
              <a:buNone/>
              <a:defRPr sz="1800" b="0" i="0">
                <a:latin typeface="+mj-lt"/>
              </a:defRPr>
            </a:lvl1pPr>
          </a:lstStyle>
          <a:p>
            <a:pPr lvl="0"/>
            <a:r>
              <a:rPr lang="en-US"/>
              <a:t>Click to edit Master text styles</a:t>
            </a:r>
          </a:p>
        </p:txBody>
      </p:sp>
    </p:spTree>
    <p:extLst>
      <p:ext uri="{BB962C8B-B14F-4D97-AF65-F5344CB8AC3E}">
        <p14:creationId xmlns:p14="http://schemas.microsoft.com/office/powerpoint/2010/main" val="376164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821EC10A-443B-78A4-9438-F5285F49C5E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1377596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Box 3">
            <a:extLst>
              <a:ext uri="{FF2B5EF4-FFF2-40B4-BE49-F238E27FC236}">
                <a16:creationId xmlns:a16="http://schemas.microsoft.com/office/drawing/2014/main" id="{E8D4C74B-144E-7E2B-4291-551B406C7D8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Confidential</a:t>
            </a:r>
          </a:p>
        </p:txBody>
      </p:sp>
    </p:spTree>
    <p:extLst>
      <p:ext uri="{BB962C8B-B14F-4D97-AF65-F5344CB8AC3E}">
        <p14:creationId xmlns:p14="http://schemas.microsoft.com/office/powerpoint/2010/main" val="25549335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Tree>
    <p:extLst>
      <p:ext uri="{BB962C8B-B14F-4D97-AF65-F5344CB8AC3E}">
        <p14:creationId xmlns:p14="http://schemas.microsoft.com/office/powerpoint/2010/main" val="1930288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TextBox 6">
            <a:extLst>
              <a:ext uri="{FF2B5EF4-FFF2-40B4-BE49-F238E27FC236}">
                <a16:creationId xmlns:a16="http://schemas.microsoft.com/office/drawing/2014/main" id="{694906BF-78B9-810A-C6ED-E1A8EB4F8E8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Confidential</a:t>
            </a:r>
          </a:p>
        </p:txBody>
      </p:sp>
    </p:spTree>
    <p:extLst>
      <p:ext uri="{BB962C8B-B14F-4D97-AF65-F5344CB8AC3E}">
        <p14:creationId xmlns:p14="http://schemas.microsoft.com/office/powerpoint/2010/main" val="25506553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7A61D8-AD5A-5DEC-D5FB-D3992E3DA7E0}"/>
              </a:ext>
            </a:extLst>
          </p:cNvPr>
          <p:cNvGraphicFramePr>
            <a:graphicFrameLocks noChangeAspect="1"/>
          </p:cNvGraphicFramePr>
          <p:nvPr userDrawn="1">
            <p:custDataLst>
              <p:tags r:id="rId32"/>
            </p:custDataLst>
            <p:extLst>
              <p:ext uri="{D42A27DB-BD31-4B8C-83A1-F6EECF244321}">
                <p14:modId xmlns:p14="http://schemas.microsoft.com/office/powerpoint/2010/main" val="190306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26" imgH="426" progId="TCLayout.ActiveDocument.1">
                  <p:embed/>
                </p:oleObj>
              </mc:Choice>
              <mc:Fallback>
                <p:oleObj name="think-cell Slide" r:id="rId33" imgW="426" imgH="426" progId="TCLayout.ActiveDocument.1">
                  <p:embed/>
                  <p:pic>
                    <p:nvPicPr>
                      <p:cNvPr id="5" name="think-cell data - do not delete" hidden="1">
                        <a:extLst>
                          <a:ext uri="{FF2B5EF4-FFF2-40B4-BE49-F238E27FC236}">
                            <a16:creationId xmlns:a16="http://schemas.microsoft.com/office/drawing/2014/main" id="{AE7A61D8-AD5A-5DEC-D5FB-D3992E3DA7E0}"/>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Poppins" panose="00000500000000000000" pitchFamily="2" charset="0"/>
                <a:cs typeface="Poppins" panose="00000500000000000000" pitchFamily="2" charset="0"/>
              </a:rPr>
              <a:t>‹#›</a:t>
            </a:fld>
            <a:endParaRPr lang="en-GB" sz="2000" b="0" i="0" noProof="0">
              <a:solidFill>
                <a:schemeClr val="tx2"/>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mj-lt"/>
              </a:rPr>
              <a:t>Confidential</a:t>
            </a:r>
          </a:p>
        </p:txBody>
      </p:sp>
    </p:spTree>
    <p:extLst>
      <p:ext uri="{BB962C8B-B14F-4D97-AF65-F5344CB8AC3E}">
        <p14:creationId xmlns:p14="http://schemas.microsoft.com/office/powerpoint/2010/main" val="15758023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716" r:id="rId25"/>
    <p:sldLayoutId id="2147483717" r:id="rId26"/>
    <p:sldLayoutId id="2147483718" r:id="rId27"/>
    <p:sldLayoutId id="2147483719" r:id="rId28"/>
    <p:sldLayoutId id="2147483720" r:id="rId29"/>
    <p:sldLayoutId id="2147483721" r:id="rId30"/>
  </p:sldLayoutIdLst>
  <p:txStyles>
    <p:titleStyle>
      <a:lvl1pPr algn="l" defTabSz="914400" rtl="0" eaLnBrk="1" latinLnBrk="0" hangingPunct="1">
        <a:lnSpc>
          <a:spcPct val="100000"/>
        </a:lnSpc>
        <a:spcBef>
          <a:spcPct val="0"/>
        </a:spcBef>
        <a:buNone/>
        <a:defRPr sz="4400" b="1" i="0" kern="1200">
          <a:solidFill>
            <a:schemeClr val="tx1"/>
          </a:solidFill>
          <a:latin typeface="+mj-lt"/>
          <a:ea typeface="+mj-ea"/>
          <a:cs typeface="Poppins" panose="00000500000000000000" pitchFamily="2"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tx1"/>
          </a:solidFill>
          <a:latin typeface="+mj-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Poppins" panose="00000500000000000000" pitchFamily="2" charset="0"/>
                <a:cs typeface="Poppins" panose="00000500000000000000" pitchFamily="2" charset="0"/>
              </a:rPr>
              <a:t>‹#›</a:t>
            </a:fld>
            <a:endParaRPr lang="en-GB" sz="2000" b="0" i="0" noProof="0">
              <a:solidFill>
                <a:schemeClr val="tx2"/>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mj-lt"/>
              </a:rPr>
              <a:t>Public</a:t>
            </a:r>
          </a:p>
        </p:txBody>
      </p:sp>
    </p:spTree>
    <p:extLst>
      <p:ext uri="{BB962C8B-B14F-4D97-AF65-F5344CB8AC3E}">
        <p14:creationId xmlns:p14="http://schemas.microsoft.com/office/powerpoint/2010/main" val="200646338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Lst>
  <p:txStyles>
    <p:titleStyle>
      <a:lvl1pPr algn="l" defTabSz="914400" rtl="0" eaLnBrk="1" latinLnBrk="0" hangingPunct="1">
        <a:lnSpc>
          <a:spcPct val="100000"/>
        </a:lnSpc>
        <a:spcBef>
          <a:spcPct val="0"/>
        </a:spcBef>
        <a:buNone/>
        <a:defRPr sz="4400" b="1" i="0" kern="1200">
          <a:solidFill>
            <a:schemeClr val="tx1"/>
          </a:solidFill>
          <a:latin typeface="+mj-lt"/>
          <a:ea typeface="+mj-ea"/>
          <a:cs typeface="Poppins" panose="00000500000000000000" pitchFamily="2"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tx1"/>
          </a:solidFill>
          <a:latin typeface="+mj-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7.xml"/><Relationship Id="rId7" Type="http://schemas.openxmlformats.org/officeDocument/2006/relationships/image" Target="../media/image4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47.jpeg"/><Relationship Id="rId4" Type="http://schemas.openxmlformats.org/officeDocument/2006/relationships/oleObject" Target="../embeddings/oleObject6.bin"/><Relationship Id="rId9" Type="http://schemas.openxmlformats.org/officeDocument/2006/relationships/image" Target="../media/image46.svg"/></Relationships>
</file>

<file path=ppt/slides/_rels/slide11.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notesSlide" Target="../notesSlides/notesSlide8.xml"/><Relationship Id="rId7" Type="http://schemas.openxmlformats.org/officeDocument/2006/relationships/image" Target="../media/image43.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46.svg"/><Relationship Id="rId4" Type="http://schemas.openxmlformats.org/officeDocument/2006/relationships/image" Target="../media/image47.jpeg"/><Relationship Id="rId9" Type="http://schemas.openxmlformats.org/officeDocument/2006/relationships/image" Target="../media/image4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algrideso.fra1.qualtrics.com/jfe/form/SV_8pJAMkj82VNpEyi"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mailto:box.consultations.resp@neso.energ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www.neso.energy/what-we-do/strategic-planning/regional-energy-strategic-planning-resp/new-feedback-window-open-resp-methodology-areas-further-development"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4.xml"/><Relationship Id="rId7"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4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6.xml"/><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47.jpeg"/><Relationship Id="rId4" Type="http://schemas.openxmlformats.org/officeDocument/2006/relationships/oleObject" Target="../embeddings/oleObject5.bin"/><Relationship Id="rId9" Type="http://schemas.openxmlformats.org/officeDocument/2006/relationships/image" Target="../media/image46.sv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73AEF-AF14-2094-B060-A44D59B6EB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51960CFA-D758-949F-D48F-7379EB6E3BBC}"/>
              </a:ext>
            </a:extLst>
          </p:cNvPr>
          <p:cNvSpPr txBox="1"/>
          <p:nvPr/>
        </p:nvSpPr>
        <p:spPr>
          <a:xfrm>
            <a:off x="399398" y="797353"/>
            <a:ext cx="10947027" cy="1938992"/>
          </a:xfrm>
          <a:prstGeom prst="rect">
            <a:avLst/>
          </a:prstGeom>
          <a:noFill/>
        </p:spPr>
        <p:txBody>
          <a:bodyPr wrap="square" lIns="91440" tIns="45720" rIns="91440" bIns="45720" rtlCol="0" anchor="t">
            <a:spAutoFit/>
          </a:bodyPr>
          <a:lstStyle/>
          <a:p>
            <a:endParaRPr lang="en-GB" sz="4000" b="1" i="1">
              <a:solidFill>
                <a:schemeClr val="bg1"/>
              </a:solidFill>
              <a:cs typeface="Poppins"/>
            </a:endParaRPr>
          </a:p>
          <a:p>
            <a:r>
              <a:rPr lang="en-GB" sz="4000" b="1">
                <a:solidFill>
                  <a:schemeClr val="bg1"/>
                </a:solidFill>
              </a:rPr>
              <a:t>RESP Methodology</a:t>
            </a:r>
            <a:endParaRPr lang="en-GB" sz="4000" b="1">
              <a:solidFill>
                <a:schemeClr val="bg1"/>
              </a:solidFill>
              <a:cs typeface="Poppins"/>
            </a:endParaRPr>
          </a:p>
          <a:p>
            <a:r>
              <a:rPr lang="en-GB" sz="4000" b="1">
                <a:solidFill>
                  <a:schemeClr val="bg1"/>
                </a:solidFill>
                <a:cs typeface="Poppins"/>
              </a:rPr>
              <a:t>Areas for further development</a:t>
            </a:r>
          </a:p>
        </p:txBody>
      </p:sp>
      <p:sp>
        <p:nvSpPr>
          <p:cNvPr id="10" name="TextBox 9">
            <a:extLst>
              <a:ext uri="{FF2B5EF4-FFF2-40B4-BE49-F238E27FC236}">
                <a16:creationId xmlns:a16="http://schemas.microsoft.com/office/drawing/2014/main" id="{249D36F0-F5CB-2750-214F-A3F71D09D212}"/>
              </a:ext>
            </a:extLst>
          </p:cNvPr>
          <p:cNvSpPr txBox="1"/>
          <p:nvPr/>
        </p:nvSpPr>
        <p:spPr>
          <a:xfrm>
            <a:off x="800278" y="3578804"/>
            <a:ext cx="5820032" cy="461665"/>
          </a:xfrm>
          <a:prstGeom prst="rect">
            <a:avLst/>
          </a:prstGeom>
          <a:noFill/>
        </p:spPr>
        <p:txBody>
          <a:bodyPr wrap="square" lIns="91440" tIns="45720" rIns="91440" bIns="45720" rtlCol="0" anchor="t">
            <a:spAutoFit/>
          </a:bodyPr>
          <a:lstStyle/>
          <a:p>
            <a:r>
              <a:rPr lang="en-GB" sz="2400">
                <a:solidFill>
                  <a:schemeClr val="bg1"/>
                </a:solidFill>
              </a:rPr>
              <a:t>06 March 2026, 10am - 11:30am</a:t>
            </a:r>
            <a:endParaRPr lang="en-GB" sz="2400">
              <a:solidFill>
                <a:schemeClr val="bg1"/>
              </a:solidFill>
              <a:cs typeface="Poppins"/>
            </a:endParaRPr>
          </a:p>
        </p:txBody>
      </p:sp>
      <p:sp>
        <p:nvSpPr>
          <p:cNvPr id="3" name="TextBox 2">
            <a:extLst>
              <a:ext uri="{FF2B5EF4-FFF2-40B4-BE49-F238E27FC236}">
                <a16:creationId xmlns:a16="http://schemas.microsoft.com/office/drawing/2014/main" id="{C22C44F2-239D-553A-8BA3-6C9B6F35EFFF}"/>
              </a:ext>
            </a:extLst>
          </p:cNvPr>
          <p:cNvSpPr txBox="1"/>
          <p:nvPr/>
        </p:nvSpPr>
        <p:spPr>
          <a:xfrm>
            <a:off x="399398" y="4587825"/>
            <a:ext cx="10372137" cy="2130583"/>
          </a:xfrm>
          <a:prstGeom prst="rect">
            <a:avLst/>
          </a:prstGeom>
          <a:noFill/>
        </p:spPr>
        <p:txBody>
          <a:bodyPr wrap="square" lIns="91440" tIns="45720" rIns="91440" bIns="45720" anchor="t">
            <a:spAutoFit/>
          </a:bodyPr>
          <a:lstStyle/>
          <a:p>
            <a:pPr>
              <a:lnSpc>
                <a:spcPct val="150000"/>
              </a:lnSpc>
            </a:pPr>
            <a:endParaRPr lang="en-GB">
              <a:solidFill>
                <a:schemeClr val="bg1"/>
              </a:solidFill>
              <a:cs typeface="Poppins"/>
            </a:endParaRPr>
          </a:p>
          <a:p>
            <a:pPr marL="285750" indent="-285750">
              <a:lnSpc>
                <a:spcPct val="150000"/>
              </a:lnSpc>
              <a:buFont typeface="Arial" panose="020B0604020202020204" pitchFamily="34" charset="0"/>
              <a:buChar char="•"/>
            </a:pPr>
            <a:r>
              <a:rPr lang="en-GB">
                <a:solidFill>
                  <a:schemeClr val="bg1"/>
                </a:solidFill>
                <a:cs typeface="Poppins"/>
              </a:rPr>
              <a:t>Nick Smith, RESP Technical Delivery Manager</a:t>
            </a:r>
          </a:p>
          <a:p>
            <a:pPr marL="285750" indent="-285750">
              <a:lnSpc>
                <a:spcPct val="150000"/>
              </a:lnSpc>
              <a:buFont typeface="Arial" panose="020B0604020202020204" pitchFamily="34" charset="0"/>
              <a:buChar char="•"/>
            </a:pPr>
            <a:r>
              <a:rPr lang="en-GB">
                <a:solidFill>
                  <a:schemeClr val="bg1"/>
                </a:solidFill>
                <a:ea typeface="+mn-lt"/>
                <a:cs typeface="+mn-lt"/>
              </a:rPr>
              <a:t>Faith Natukunda, RESP Senior Technical Delivery Manager</a:t>
            </a:r>
          </a:p>
          <a:p>
            <a:pPr marL="285750" indent="-285750">
              <a:lnSpc>
                <a:spcPct val="150000"/>
              </a:lnSpc>
              <a:buFont typeface="Arial" panose="020B0604020202020204" pitchFamily="34" charset="0"/>
              <a:buChar char="•"/>
            </a:pPr>
            <a:r>
              <a:rPr lang="en-GB">
                <a:solidFill>
                  <a:schemeClr val="bg1"/>
                </a:solidFill>
                <a:cs typeface="Poppins"/>
              </a:rPr>
              <a:t>Jonny Sadler, RESP Engagement and Communications Manager</a:t>
            </a:r>
          </a:p>
          <a:p>
            <a:pPr marL="285750" indent="-285750">
              <a:lnSpc>
                <a:spcPct val="150000"/>
              </a:lnSpc>
              <a:buFont typeface="Arial" panose="020B0604020202020204" pitchFamily="34" charset="0"/>
              <a:buChar char="•"/>
            </a:pPr>
            <a:endParaRPr lang="en-GB">
              <a:solidFill>
                <a:schemeClr val="bg1"/>
              </a:solidFill>
              <a:cs typeface="Poppins"/>
            </a:endParaRPr>
          </a:p>
        </p:txBody>
      </p:sp>
      <p:sp>
        <p:nvSpPr>
          <p:cNvPr id="4" name="TextBox 3">
            <a:extLst>
              <a:ext uri="{FF2B5EF4-FFF2-40B4-BE49-F238E27FC236}">
                <a16:creationId xmlns:a16="http://schemas.microsoft.com/office/drawing/2014/main" id="{B0A1EBC4-7E09-3355-45B5-5CEF338029A7}"/>
              </a:ext>
            </a:extLst>
          </p:cNvPr>
          <p:cNvSpPr txBox="1"/>
          <p:nvPr/>
        </p:nvSpPr>
        <p:spPr>
          <a:xfrm>
            <a:off x="399398" y="2913731"/>
            <a:ext cx="7258406" cy="461665"/>
          </a:xfrm>
          <a:prstGeom prst="rect">
            <a:avLst/>
          </a:prstGeom>
          <a:noFill/>
        </p:spPr>
        <p:txBody>
          <a:bodyPr wrap="square">
            <a:spAutoFit/>
          </a:bodyPr>
          <a:lstStyle/>
          <a:p>
            <a:r>
              <a:rPr lang="en-GB" sz="2400" b="1">
                <a:solidFill>
                  <a:schemeClr val="bg1"/>
                </a:solidFill>
                <a:latin typeface="+mn-lt"/>
                <a:cs typeface="Poppins"/>
              </a:rPr>
              <a:t>Spatial Context for Gas and Biomethane </a:t>
            </a:r>
            <a:endParaRPr lang="en-GB" sz="2400" b="1">
              <a:solidFill>
                <a:schemeClr val="bg1"/>
              </a:solidFill>
            </a:endParaRPr>
          </a:p>
        </p:txBody>
      </p:sp>
      <p:sp>
        <p:nvSpPr>
          <p:cNvPr id="2" name="TextBox 1">
            <a:extLst>
              <a:ext uri="{FF2B5EF4-FFF2-40B4-BE49-F238E27FC236}">
                <a16:creationId xmlns:a16="http://schemas.microsoft.com/office/drawing/2014/main" id="{08E80AEE-1453-F9B7-0B88-88D624B9902E}"/>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29813010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AA35-60FF-4271-CB6B-8C5CEEE95720}"/>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1B7ED195-0831-B453-2A34-40279E648098}"/>
              </a:ext>
            </a:extLst>
          </p:cNvPr>
          <p:cNvSpPr/>
          <p:nvPr/>
        </p:nvSpPr>
        <p:spPr>
          <a:xfrm>
            <a:off x="10104504" y="5752464"/>
            <a:ext cx="1797977" cy="888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 name="think-cell data - do not delete" hidden="1">
            <a:extLst>
              <a:ext uri="{FF2B5EF4-FFF2-40B4-BE49-F238E27FC236}">
                <a16:creationId xmlns:a16="http://schemas.microsoft.com/office/drawing/2014/main" id="{28A9FE87-1355-B0A2-805D-020CADB2EBBB}"/>
              </a:ext>
            </a:extLst>
          </p:cNvPr>
          <p:cNvGraphicFramePr>
            <a:graphicFrameLocks noChangeAspect="1"/>
          </p:cNvGraphicFramePr>
          <p:nvPr>
            <p:custDataLst>
              <p:tags r:id="rId1"/>
            </p:custDataLst>
            <p:extLst>
              <p:ext uri="{D42A27DB-BD31-4B8C-83A1-F6EECF244321}">
                <p14:modId xmlns:p14="http://schemas.microsoft.com/office/powerpoint/2010/main" val="3589773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9" name="think-cell data - do not delete" hidden="1">
                        <a:extLst>
                          <a:ext uri="{FF2B5EF4-FFF2-40B4-BE49-F238E27FC236}">
                            <a16:creationId xmlns:a16="http://schemas.microsoft.com/office/drawing/2014/main" id="{28A9FE87-1355-B0A2-805D-020CADB2EB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0B1ADAF-9A57-8689-2A80-913B5BE69EA3}"/>
              </a:ext>
            </a:extLst>
          </p:cNvPr>
          <p:cNvSpPr/>
          <p:nvPr/>
        </p:nvSpPr>
        <p:spPr>
          <a:xfrm>
            <a:off x="10037852" y="5712076"/>
            <a:ext cx="1797977" cy="888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B36F4E32-5902-302B-7AD7-8C0FCFBAD8A8}"/>
              </a:ext>
            </a:extLst>
          </p:cNvPr>
          <p:cNvSpPr>
            <a:spLocks noGrp="1"/>
          </p:cNvSpPr>
          <p:nvPr>
            <p:ph type="title"/>
          </p:nvPr>
        </p:nvSpPr>
        <p:spPr>
          <a:xfrm>
            <a:off x="637273" y="365126"/>
            <a:ext cx="10515600" cy="621194"/>
          </a:xfrm>
        </p:spPr>
        <p:txBody>
          <a:bodyPr vert="horz" lIns="0">
            <a:normAutofit/>
          </a:bodyPr>
          <a:lstStyle/>
          <a:p>
            <a:r>
              <a:rPr lang="en-GB" sz="3200" noProof="0">
                <a:solidFill>
                  <a:schemeClr val="tx2"/>
                </a:solidFill>
                <a:latin typeface="Poppins" pitchFamily="2" charset="77"/>
                <a:cs typeface="Poppins" pitchFamily="2" charset="77"/>
              </a:rPr>
              <a:t>Biomethane </a:t>
            </a:r>
            <a:r>
              <a:rPr lang="en-GB" sz="3200" b="0" i="1" noProof="0">
                <a:solidFill>
                  <a:schemeClr val="tx2"/>
                </a:solidFill>
                <a:latin typeface="Poppins" pitchFamily="2" charset="77"/>
                <a:cs typeface="Poppins" pitchFamily="2" charset="77"/>
              </a:rPr>
              <a:t>(Supply) </a:t>
            </a:r>
          </a:p>
        </p:txBody>
      </p:sp>
      <p:sp>
        <p:nvSpPr>
          <p:cNvPr id="21" name="Rectangle 20">
            <a:extLst>
              <a:ext uri="{FF2B5EF4-FFF2-40B4-BE49-F238E27FC236}">
                <a16:creationId xmlns:a16="http://schemas.microsoft.com/office/drawing/2014/main" id="{C2B7A177-4D17-3B84-426E-CC58B2E4DE8E}"/>
              </a:ext>
            </a:extLst>
          </p:cNvPr>
          <p:cNvSpPr/>
          <p:nvPr/>
        </p:nvSpPr>
        <p:spPr>
          <a:xfrm>
            <a:off x="637273" y="975486"/>
            <a:ext cx="10908403" cy="62119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45720" rIns="91440" bIns="45720" rtlCol="0" anchor="t"/>
          <a:lstStyle/>
          <a:p>
            <a:r>
              <a:rPr lang="en-US" noProof="0">
                <a:solidFill>
                  <a:schemeClr val="tx2"/>
                </a:solidFill>
                <a:latin typeface="Poppins"/>
                <a:cs typeface="Poppins"/>
              </a:rPr>
              <a:t>For biomethane supply, RESP Spatial Context will focus on the interaction between </a:t>
            </a:r>
            <a:r>
              <a:rPr lang="en-US" b="1" u="sng">
                <a:solidFill>
                  <a:schemeClr val="accent3">
                    <a:lumMod val="60000"/>
                    <a:lumOff val="40000"/>
                  </a:schemeClr>
                </a:solidFill>
              </a:rPr>
              <a:t>projected biomethane supply</a:t>
            </a:r>
            <a:r>
              <a:rPr lang="en-US" noProof="0">
                <a:solidFill>
                  <a:schemeClr val="tx2"/>
                </a:solidFill>
                <a:latin typeface="Poppins"/>
                <a:cs typeface="Poppins"/>
              </a:rPr>
              <a:t> and </a:t>
            </a:r>
            <a:r>
              <a:rPr lang="en-GB" b="1" u="sng">
                <a:solidFill>
                  <a:schemeClr val="accent3">
                    <a:lumMod val="60000"/>
                    <a:lumOff val="40000"/>
                  </a:schemeClr>
                </a:solidFill>
              </a:rPr>
              <a:t>periods of minimum demand</a:t>
            </a:r>
            <a:r>
              <a:rPr lang="en-GB">
                <a:solidFill>
                  <a:schemeClr val="accent3">
                    <a:lumMod val="60000"/>
                    <a:lumOff val="40000"/>
                  </a:schemeClr>
                </a:solidFill>
              </a:rPr>
              <a:t> </a:t>
            </a:r>
            <a:r>
              <a:rPr lang="en-GB">
                <a:solidFill>
                  <a:schemeClr val="dk1"/>
                </a:solidFill>
              </a:rPr>
              <a:t>across the networks </a:t>
            </a:r>
            <a:endParaRPr lang="en-US" noProof="0">
              <a:solidFill>
                <a:schemeClr val="dk1"/>
              </a:solidFill>
              <a:latin typeface="Poppins"/>
              <a:cs typeface="Poppins"/>
            </a:endParaRPr>
          </a:p>
        </p:txBody>
      </p:sp>
      <p:sp>
        <p:nvSpPr>
          <p:cNvPr id="16" name="TextBox 15">
            <a:extLst>
              <a:ext uri="{FF2B5EF4-FFF2-40B4-BE49-F238E27FC236}">
                <a16:creationId xmlns:a16="http://schemas.microsoft.com/office/drawing/2014/main" id="{69083650-D15F-49BF-F548-F7FBDB9CC6F0}"/>
              </a:ext>
            </a:extLst>
          </p:cNvPr>
          <p:cNvSpPr txBox="1"/>
          <p:nvPr/>
        </p:nvSpPr>
        <p:spPr>
          <a:xfrm>
            <a:off x="1108984" y="2064444"/>
            <a:ext cx="10436691" cy="830099"/>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a:latin typeface="+mj-lt"/>
              </a:rPr>
              <a:t>NESO’s initial approach for biomethane focused on mapping future biomethane injections into the gas distribution network. </a:t>
            </a:r>
          </a:p>
          <a:p>
            <a:pPr marL="171450" indent="-171450">
              <a:lnSpc>
                <a:spcPct val="150000"/>
              </a:lnSpc>
              <a:buFont typeface="Arial" panose="020B0604020202020204" pitchFamily="34" charset="0"/>
              <a:buChar char="•"/>
            </a:pPr>
            <a:r>
              <a:rPr lang="en-US" sz="1100">
                <a:latin typeface="+mj-lt"/>
              </a:rPr>
              <a:t>Similarly to Gas demand, many stakeholders commented that whilst this view was welcomed, the detail provided within the draft methodology was limited, making it difficult to conclude how this would work in practice and how value of this approach would be assessed.</a:t>
            </a:r>
          </a:p>
        </p:txBody>
      </p:sp>
      <p:sp>
        <p:nvSpPr>
          <p:cNvPr id="3" name="TextBox 2">
            <a:extLst>
              <a:ext uri="{FF2B5EF4-FFF2-40B4-BE49-F238E27FC236}">
                <a16:creationId xmlns:a16="http://schemas.microsoft.com/office/drawing/2014/main" id="{10AFCDC6-8C07-DB95-7E88-7EB77CEA861E}"/>
              </a:ext>
            </a:extLst>
          </p:cNvPr>
          <p:cNvSpPr txBox="1"/>
          <p:nvPr/>
        </p:nvSpPr>
        <p:spPr>
          <a:xfrm>
            <a:off x="1108985" y="1779498"/>
            <a:ext cx="2912258" cy="307777"/>
          </a:xfrm>
          <a:prstGeom prst="rect">
            <a:avLst/>
          </a:prstGeom>
          <a:noFill/>
        </p:spPr>
        <p:txBody>
          <a:bodyPr wrap="square" rtlCol="0">
            <a:spAutoFit/>
          </a:bodyPr>
          <a:lstStyle/>
          <a:p>
            <a:r>
              <a:rPr lang="en-GB" sz="1400" b="1">
                <a:solidFill>
                  <a:schemeClr val="accent3"/>
                </a:solidFill>
              </a:rPr>
              <a:t>What we heard:  </a:t>
            </a:r>
          </a:p>
        </p:txBody>
      </p:sp>
      <p:sp>
        <p:nvSpPr>
          <p:cNvPr id="4" name="TextBox 3">
            <a:extLst>
              <a:ext uri="{FF2B5EF4-FFF2-40B4-BE49-F238E27FC236}">
                <a16:creationId xmlns:a16="http://schemas.microsoft.com/office/drawing/2014/main" id="{122EA2E8-1B50-7A3A-3638-BA625BCBC5AD}"/>
              </a:ext>
            </a:extLst>
          </p:cNvPr>
          <p:cNvSpPr txBox="1"/>
          <p:nvPr/>
        </p:nvSpPr>
        <p:spPr>
          <a:xfrm>
            <a:off x="1108985" y="2966294"/>
            <a:ext cx="2912258" cy="307777"/>
          </a:xfrm>
          <a:prstGeom prst="rect">
            <a:avLst/>
          </a:prstGeom>
          <a:noFill/>
        </p:spPr>
        <p:txBody>
          <a:bodyPr wrap="square" rtlCol="0">
            <a:spAutoFit/>
          </a:bodyPr>
          <a:lstStyle/>
          <a:p>
            <a:r>
              <a:rPr lang="en-GB" sz="1400" b="1">
                <a:solidFill>
                  <a:schemeClr val="accent1"/>
                </a:solidFill>
              </a:rPr>
              <a:t>NESO Proposes: </a:t>
            </a:r>
          </a:p>
        </p:txBody>
      </p:sp>
      <p:pic>
        <p:nvPicPr>
          <p:cNvPr id="7" name="Graphic 6" descr="Lightbulb with solid fill">
            <a:extLst>
              <a:ext uri="{FF2B5EF4-FFF2-40B4-BE49-F238E27FC236}">
                <a16:creationId xmlns:a16="http://schemas.microsoft.com/office/drawing/2014/main" id="{7F40F60D-0423-B08D-5BE9-BBCD069FD1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5605" y="2891582"/>
            <a:ext cx="457200" cy="457200"/>
          </a:xfrm>
          <a:prstGeom prst="rect">
            <a:avLst/>
          </a:prstGeom>
        </p:spPr>
      </p:pic>
      <p:pic>
        <p:nvPicPr>
          <p:cNvPr id="10" name="Graphic 9" descr="Megaphone with solid fill">
            <a:extLst>
              <a:ext uri="{FF2B5EF4-FFF2-40B4-BE49-F238E27FC236}">
                <a16:creationId xmlns:a16="http://schemas.microsoft.com/office/drawing/2014/main" id="{CDB224A8-C92F-2979-EFDD-43335CC2BD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605" y="1704786"/>
            <a:ext cx="457200" cy="457200"/>
          </a:xfrm>
          <a:prstGeom prst="rect">
            <a:avLst/>
          </a:prstGeom>
        </p:spPr>
      </p:pic>
      <p:sp>
        <p:nvSpPr>
          <p:cNvPr id="12" name="TextBox 11">
            <a:extLst>
              <a:ext uri="{FF2B5EF4-FFF2-40B4-BE49-F238E27FC236}">
                <a16:creationId xmlns:a16="http://schemas.microsoft.com/office/drawing/2014/main" id="{D6D579FA-4296-E7BC-6DE3-07CBE8C79A73}"/>
              </a:ext>
            </a:extLst>
          </p:cNvPr>
          <p:cNvSpPr txBox="1"/>
          <p:nvPr/>
        </p:nvSpPr>
        <p:spPr>
          <a:xfrm>
            <a:off x="1108985" y="3239328"/>
            <a:ext cx="10726844" cy="830099"/>
          </a:xfrm>
          <a:prstGeom prst="rect">
            <a:avLst/>
          </a:prstGeom>
          <a:noFill/>
        </p:spPr>
        <p:txBody>
          <a:bodyPr wrap="square" lIns="91440" tIns="45720" rIns="91440" bIns="45720" rtlCol="0" anchor="t">
            <a:spAutoFit/>
          </a:bodyPr>
          <a:lstStyle/>
          <a:p>
            <a:pPr marL="171450" indent="-171450">
              <a:lnSpc>
                <a:spcPct val="150000"/>
              </a:lnSpc>
              <a:buFont typeface="Arial" panose="020B0604020202020204" pitchFamily="34" charset="0"/>
              <a:buChar char="•"/>
            </a:pPr>
            <a:r>
              <a:rPr lang="en-GB" sz="1100">
                <a:solidFill>
                  <a:schemeClr val="dk1"/>
                </a:solidFill>
                <a:latin typeface="+mj-lt"/>
              </a:rPr>
              <a:t>GDNs </a:t>
            </a:r>
            <a:r>
              <a:rPr lang="en-GB" sz="1100">
                <a:solidFill>
                  <a:schemeClr val="dk1"/>
                </a:solidFill>
                <a:latin typeface="+mj-lt"/>
                <a:cs typeface="Poppins"/>
              </a:rPr>
              <a:t>utilise RESP Pathways and RESP CPAs to </a:t>
            </a:r>
            <a:r>
              <a:rPr lang="en-GB" sz="1100">
                <a:solidFill>
                  <a:schemeClr val="dk1"/>
                </a:solidFill>
                <a:latin typeface="+mj-lt"/>
              </a:rPr>
              <a:t>model the interaction between </a:t>
            </a:r>
            <a:r>
              <a:rPr lang="en-GB" sz="1100" b="1">
                <a:solidFill>
                  <a:schemeClr val="dk1"/>
                </a:solidFill>
                <a:latin typeface="+mj-lt"/>
              </a:rPr>
              <a:t>projected biomethane supply </a:t>
            </a:r>
            <a:r>
              <a:rPr lang="en-GB" sz="1100">
                <a:solidFill>
                  <a:schemeClr val="dk1"/>
                </a:solidFill>
                <a:latin typeface="+mj-lt"/>
              </a:rPr>
              <a:t>and </a:t>
            </a:r>
            <a:r>
              <a:rPr lang="en-GB" sz="1100" b="1">
                <a:solidFill>
                  <a:schemeClr val="dk1"/>
                </a:solidFill>
                <a:latin typeface="+mj-lt"/>
              </a:rPr>
              <a:t>periods of minimum demand </a:t>
            </a:r>
            <a:r>
              <a:rPr lang="en-GB" sz="1100">
                <a:solidFill>
                  <a:schemeClr val="dk1"/>
                </a:solidFill>
                <a:latin typeface="+mj-lt"/>
              </a:rPr>
              <a:t>across their networks, s</a:t>
            </a:r>
            <a:r>
              <a:rPr lang="en-GB" sz="1100">
                <a:solidFill>
                  <a:schemeClr val="dk1"/>
                </a:solidFill>
              </a:rPr>
              <a:t>upporting the proactive identification of system needs and acting as an input to specification of Strategic Investment Need. </a:t>
            </a:r>
          </a:p>
          <a:p>
            <a:pPr>
              <a:lnSpc>
                <a:spcPct val="150000"/>
              </a:lnSpc>
            </a:pPr>
            <a:endParaRPr lang="en-GB" sz="1100">
              <a:solidFill>
                <a:schemeClr val="dk1"/>
              </a:solidFill>
              <a:latin typeface="+mj-lt"/>
            </a:endParaRPr>
          </a:p>
        </p:txBody>
      </p:sp>
      <p:pic>
        <p:nvPicPr>
          <p:cNvPr id="26" name="Picture 25" descr="Pipeline Icon Images – Browse 100,131 Stock Photos, Vectors, and Video |  Adobe Stock">
            <a:extLst>
              <a:ext uri="{FF2B5EF4-FFF2-40B4-BE49-F238E27FC236}">
                <a16:creationId xmlns:a16="http://schemas.microsoft.com/office/drawing/2014/main" id="{F85E5FDB-421D-6199-B7FC-821FAD86E52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3572" b="57095"/>
          <a:stretch/>
        </p:blipFill>
        <p:spPr bwMode="auto">
          <a:xfrm>
            <a:off x="2266907" y="4241881"/>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ipeline Icon Images – Browse 100,131 Stock Photos, Vectors, and Video |  Adobe Stock">
            <a:extLst>
              <a:ext uri="{FF2B5EF4-FFF2-40B4-BE49-F238E27FC236}">
                <a16:creationId xmlns:a16="http://schemas.microsoft.com/office/drawing/2014/main" id="{04C829DD-F150-937C-BF1A-DFB3C54DD8F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3572" b="57095"/>
          <a:stretch/>
        </p:blipFill>
        <p:spPr bwMode="auto">
          <a:xfrm>
            <a:off x="4560813" y="4251339"/>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Pipeline Icon Images – Browse 100,131 Stock Photos, Vectors, and Video |  Adobe Stock">
            <a:extLst>
              <a:ext uri="{FF2B5EF4-FFF2-40B4-BE49-F238E27FC236}">
                <a16:creationId xmlns:a16="http://schemas.microsoft.com/office/drawing/2014/main" id="{18D1B108-127E-F22F-5C9E-0532925BCA4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8122325" y="4858084"/>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9" name="Picture 4" descr="Pipeline Icon Images – Browse 100,131 Stock Photos, Vectors, and Video |  Adobe Stock">
            <a:extLst>
              <a:ext uri="{FF2B5EF4-FFF2-40B4-BE49-F238E27FC236}">
                <a16:creationId xmlns:a16="http://schemas.microsoft.com/office/drawing/2014/main" id="{2015CFB1-DD0F-8A0C-209F-B8567088ACC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7378099" y="4243741"/>
            <a:ext cx="748348" cy="86628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Pipeline Icon Images – Browse 100,131 Stock Photos, Vectors, and Video |  Adobe Stock">
            <a:extLst>
              <a:ext uri="{FF2B5EF4-FFF2-40B4-BE49-F238E27FC236}">
                <a16:creationId xmlns:a16="http://schemas.microsoft.com/office/drawing/2014/main" id="{B8B1A0D1-6642-4220-C5CF-7A698FE559F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153463" y="4725145"/>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31" name="Picture 4" descr="Pipeline Icon Images – Browse 100,131 Stock Photos, Vectors, and Video |  Adobe Stock">
            <a:extLst>
              <a:ext uri="{FF2B5EF4-FFF2-40B4-BE49-F238E27FC236}">
                <a16:creationId xmlns:a16="http://schemas.microsoft.com/office/drawing/2014/main" id="{C74EF6F6-6114-DCEC-54EA-FD1400E2237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8217651" y="5080085"/>
            <a:ext cx="254966" cy="256195"/>
          </a:xfrm>
          <a:prstGeom prst="rect">
            <a:avLst/>
          </a:prstGeom>
          <a:extLst>
            <a:ext uri="{909E8E84-426E-40DD-AFC4-6F175D3DCCD1}">
              <a14:hiddenFill xmlns:a14="http://schemas.microsoft.com/office/drawing/2010/main">
                <a:solidFill>
                  <a:srgbClr val="FFFFFF"/>
                </a:solidFill>
              </a14:hiddenFill>
            </a:ext>
          </a:extLst>
        </p:spPr>
      </p:pic>
      <p:pic>
        <p:nvPicPr>
          <p:cNvPr id="32" name="Picture 4" descr="Pipeline Icon Images – Browse 100,131 Stock Photos, Vectors, and Video |  Adobe Stock">
            <a:extLst>
              <a:ext uri="{FF2B5EF4-FFF2-40B4-BE49-F238E27FC236}">
                <a16:creationId xmlns:a16="http://schemas.microsoft.com/office/drawing/2014/main" id="{C04DB61B-3EA1-8B31-B666-A1096ADBB05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439213" y="5169310"/>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33" name="Picture 4" descr="Pipeline Icon Images – Browse 100,131 Stock Photos, Vectors, and Video |  Adobe Stock">
            <a:extLst>
              <a:ext uri="{FF2B5EF4-FFF2-40B4-BE49-F238E27FC236}">
                <a16:creationId xmlns:a16="http://schemas.microsoft.com/office/drawing/2014/main" id="{51B6E4D8-B995-15E9-4F54-6CE98AB6EFB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791639" y="5169310"/>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34" name="Picture 4" descr="Pipeline Icon Images – Browse 100,131 Stock Photos, Vectors, and Video |  Adobe Stock">
            <a:extLst>
              <a:ext uri="{FF2B5EF4-FFF2-40B4-BE49-F238E27FC236}">
                <a16:creationId xmlns:a16="http://schemas.microsoft.com/office/drawing/2014/main" id="{31C99944-4220-9F0A-AEEB-642F2240515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505867" y="4725145"/>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35" name="Picture 4" descr="Pipeline Icon Images – Browse 100,131 Stock Photos, Vectors, and Video |  Adobe Stock">
            <a:extLst>
              <a:ext uri="{FF2B5EF4-FFF2-40B4-BE49-F238E27FC236}">
                <a16:creationId xmlns:a16="http://schemas.microsoft.com/office/drawing/2014/main" id="{03772C39-F731-5A26-257C-8008A12BECB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855096" y="4723097"/>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36" name="Picture 4" descr="Pipeline Icon Images – Browse 100,131 Stock Photos, Vectors, and Video |  Adobe Stock">
            <a:extLst>
              <a:ext uri="{FF2B5EF4-FFF2-40B4-BE49-F238E27FC236}">
                <a16:creationId xmlns:a16="http://schemas.microsoft.com/office/drawing/2014/main" id="{9819BCAD-A163-3943-F107-DD6098C6609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9257120" y="4586138"/>
            <a:ext cx="259346" cy="300216"/>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oup 36">
            <a:extLst>
              <a:ext uri="{FF2B5EF4-FFF2-40B4-BE49-F238E27FC236}">
                <a16:creationId xmlns:a16="http://schemas.microsoft.com/office/drawing/2014/main" id="{6A048750-6003-8AC9-6A8D-AD367587830E}"/>
              </a:ext>
            </a:extLst>
          </p:cNvPr>
          <p:cNvGrpSpPr/>
          <p:nvPr/>
        </p:nvGrpSpPr>
        <p:grpSpPr>
          <a:xfrm>
            <a:off x="9520843" y="4798222"/>
            <a:ext cx="136759" cy="186694"/>
            <a:chOff x="6098836" y="2071903"/>
            <a:chExt cx="350292" cy="478196"/>
          </a:xfrm>
        </p:grpSpPr>
        <p:pic>
          <p:nvPicPr>
            <p:cNvPr id="38" name="Picture 4" descr="Pipeline Icon Images – Browse 100,131 Stock Photos, Vectors, and Video |  Adobe Stock">
              <a:extLst>
                <a:ext uri="{FF2B5EF4-FFF2-40B4-BE49-F238E27FC236}">
                  <a16:creationId xmlns:a16="http://schemas.microsoft.com/office/drawing/2014/main" id="{047B98B2-98B1-3763-89AA-1B42C3299ED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39" name="Picture 4" descr="Pipeline Icon Images – Browse 100,131 Stock Photos, Vectors, and Video |  Adobe Stock">
              <a:extLst>
                <a:ext uri="{FF2B5EF4-FFF2-40B4-BE49-F238E27FC236}">
                  <a16:creationId xmlns:a16="http://schemas.microsoft.com/office/drawing/2014/main" id="{62BBE944-D4D7-F76A-986F-B6DB46C05E0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B79EB4AE-D8B5-FE62-B780-573CC239639E}"/>
              </a:ext>
            </a:extLst>
          </p:cNvPr>
          <p:cNvGrpSpPr/>
          <p:nvPr/>
        </p:nvGrpSpPr>
        <p:grpSpPr>
          <a:xfrm flipV="1">
            <a:off x="9522579" y="4620136"/>
            <a:ext cx="135005" cy="184300"/>
            <a:chOff x="6098836" y="2071903"/>
            <a:chExt cx="350292" cy="478196"/>
          </a:xfrm>
        </p:grpSpPr>
        <p:pic>
          <p:nvPicPr>
            <p:cNvPr id="41" name="Picture 4" descr="Pipeline Icon Images – Browse 100,131 Stock Photos, Vectors, and Video |  Adobe Stock">
              <a:extLst>
                <a:ext uri="{FF2B5EF4-FFF2-40B4-BE49-F238E27FC236}">
                  <a16:creationId xmlns:a16="http://schemas.microsoft.com/office/drawing/2014/main" id="{3B6B1FC3-D643-EC3B-55B2-D1DBDBE6787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42" name="Picture 4" descr="Pipeline Icon Images – Browse 100,131 Stock Photos, Vectors, and Video |  Adobe Stock">
              <a:extLst>
                <a:ext uri="{FF2B5EF4-FFF2-40B4-BE49-F238E27FC236}">
                  <a16:creationId xmlns:a16="http://schemas.microsoft.com/office/drawing/2014/main" id="{86D36B89-7DD9-18EF-FF2D-9009EEB27D0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43" name="Group 42">
            <a:extLst>
              <a:ext uri="{FF2B5EF4-FFF2-40B4-BE49-F238E27FC236}">
                <a16:creationId xmlns:a16="http://schemas.microsoft.com/office/drawing/2014/main" id="{5FC5C15E-3D26-44C0-8FDC-929DFD5C8B86}"/>
              </a:ext>
            </a:extLst>
          </p:cNvPr>
          <p:cNvGrpSpPr/>
          <p:nvPr/>
        </p:nvGrpSpPr>
        <p:grpSpPr>
          <a:xfrm>
            <a:off x="9644652" y="4626172"/>
            <a:ext cx="1334466" cy="58307"/>
            <a:chOff x="6121556" y="1809778"/>
            <a:chExt cx="1334466" cy="58307"/>
          </a:xfrm>
        </p:grpSpPr>
        <p:pic>
          <p:nvPicPr>
            <p:cNvPr id="44" name="Picture 4" descr="Pipeline Icon Images – Browse 100,131 Stock Photos, Vectors, and Video |  Adobe Stock">
              <a:extLst>
                <a:ext uri="{FF2B5EF4-FFF2-40B4-BE49-F238E27FC236}">
                  <a16:creationId xmlns:a16="http://schemas.microsoft.com/office/drawing/2014/main" id="{1A289E41-5C51-CDDE-4A5D-7FE54388EE8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45" name="Picture 4" descr="Pipeline Icon Images – Browse 100,131 Stock Photos, Vectors, and Video |  Adobe Stock">
              <a:extLst>
                <a:ext uri="{FF2B5EF4-FFF2-40B4-BE49-F238E27FC236}">
                  <a16:creationId xmlns:a16="http://schemas.microsoft.com/office/drawing/2014/main" id="{75324147-E4D0-1025-6422-24927C89EC7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46" name="Picture 4" descr="Pipeline Icon Images – Browse 100,131 Stock Photos, Vectors, and Video |  Adobe Stock">
              <a:extLst>
                <a:ext uri="{FF2B5EF4-FFF2-40B4-BE49-F238E27FC236}">
                  <a16:creationId xmlns:a16="http://schemas.microsoft.com/office/drawing/2014/main" id="{E687CD45-932B-B91C-EA63-91745CE0B3F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47" name="Picture 4" descr="Pipeline Icon Images – Browse 100,131 Stock Photos, Vectors, and Video |  Adobe Stock">
              <a:extLst>
                <a:ext uri="{FF2B5EF4-FFF2-40B4-BE49-F238E27FC236}">
                  <a16:creationId xmlns:a16="http://schemas.microsoft.com/office/drawing/2014/main" id="{2777C757-0062-7EE5-6283-153A4C6B154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48" name="Picture 4" descr="Pipeline Icon Images – Browse 100,131 Stock Photos, Vectors, and Video |  Adobe Stock">
              <a:extLst>
                <a:ext uri="{FF2B5EF4-FFF2-40B4-BE49-F238E27FC236}">
                  <a16:creationId xmlns:a16="http://schemas.microsoft.com/office/drawing/2014/main" id="{A375E7CB-4A73-1DBC-C203-27033647C4B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49" name="Picture 4" descr="Pipeline Icon Images – Browse 100,131 Stock Photos, Vectors, and Video |  Adobe Stock">
              <a:extLst>
                <a:ext uri="{FF2B5EF4-FFF2-40B4-BE49-F238E27FC236}">
                  <a16:creationId xmlns:a16="http://schemas.microsoft.com/office/drawing/2014/main" id="{34997C35-C293-0D3F-8A40-16E2B1CA1A5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0" name="Picture 4" descr="Pipeline Icon Images – Browse 100,131 Stock Photos, Vectors, and Video |  Adobe Stock">
              <a:extLst>
                <a:ext uri="{FF2B5EF4-FFF2-40B4-BE49-F238E27FC236}">
                  <a16:creationId xmlns:a16="http://schemas.microsoft.com/office/drawing/2014/main" id="{80BC9BD7-2BC2-6CB4-A559-DF59C43F281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1" name="Picture 4" descr="Pipeline Icon Images – Browse 100,131 Stock Photos, Vectors, and Video |  Adobe Stock">
              <a:extLst>
                <a:ext uri="{FF2B5EF4-FFF2-40B4-BE49-F238E27FC236}">
                  <a16:creationId xmlns:a16="http://schemas.microsoft.com/office/drawing/2014/main" id="{C044BEBB-F2E0-013C-390F-C127DBC4C63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2" name="Picture 4" descr="Pipeline Icon Images – Browse 100,131 Stock Photos, Vectors, and Video |  Adobe Stock">
              <a:extLst>
                <a:ext uri="{FF2B5EF4-FFF2-40B4-BE49-F238E27FC236}">
                  <a16:creationId xmlns:a16="http://schemas.microsoft.com/office/drawing/2014/main" id="{03B578B3-221A-93BF-1694-2D8D5495F0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3" name="Picture 4" descr="Pipeline Icon Images – Browse 100,131 Stock Photos, Vectors, and Video |  Adobe Stock">
              <a:extLst>
                <a:ext uri="{FF2B5EF4-FFF2-40B4-BE49-F238E27FC236}">
                  <a16:creationId xmlns:a16="http://schemas.microsoft.com/office/drawing/2014/main" id="{C408D928-B641-81D9-7B3C-002D8D8510E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C039E3FC-E8C8-E4A3-7AF6-53A21C64E43A}"/>
              </a:ext>
            </a:extLst>
          </p:cNvPr>
          <p:cNvGrpSpPr/>
          <p:nvPr/>
        </p:nvGrpSpPr>
        <p:grpSpPr>
          <a:xfrm>
            <a:off x="9645728" y="4921331"/>
            <a:ext cx="1334466" cy="58307"/>
            <a:chOff x="6121556" y="1809778"/>
            <a:chExt cx="1334466" cy="58307"/>
          </a:xfrm>
        </p:grpSpPr>
        <p:pic>
          <p:nvPicPr>
            <p:cNvPr id="55" name="Picture 4" descr="Pipeline Icon Images – Browse 100,131 Stock Photos, Vectors, and Video |  Adobe Stock">
              <a:extLst>
                <a:ext uri="{FF2B5EF4-FFF2-40B4-BE49-F238E27FC236}">
                  <a16:creationId xmlns:a16="http://schemas.microsoft.com/office/drawing/2014/main" id="{336FFAA1-9703-0D0A-8726-C8A8FD24AE4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6" name="Picture 4" descr="Pipeline Icon Images – Browse 100,131 Stock Photos, Vectors, and Video |  Adobe Stock">
              <a:extLst>
                <a:ext uri="{FF2B5EF4-FFF2-40B4-BE49-F238E27FC236}">
                  <a16:creationId xmlns:a16="http://schemas.microsoft.com/office/drawing/2014/main" id="{A0963CE4-AAE1-DB37-1137-E6ACD81F3CD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7" name="Picture 4" descr="Pipeline Icon Images – Browse 100,131 Stock Photos, Vectors, and Video |  Adobe Stock">
              <a:extLst>
                <a:ext uri="{FF2B5EF4-FFF2-40B4-BE49-F238E27FC236}">
                  <a16:creationId xmlns:a16="http://schemas.microsoft.com/office/drawing/2014/main" id="{02E7CCC4-6298-CC8A-6057-31F0C6CF585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8" name="Picture 4" descr="Pipeline Icon Images – Browse 100,131 Stock Photos, Vectors, and Video |  Adobe Stock">
              <a:extLst>
                <a:ext uri="{FF2B5EF4-FFF2-40B4-BE49-F238E27FC236}">
                  <a16:creationId xmlns:a16="http://schemas.microsoft.com/office/drawing/2014/main" id="{6EF9B2F1-0425-CBCF-7B33-4FD957FFA90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59" name="Picture 4" descr="Pipeline Icon Images – Browse 100,131 Stock Photos, Vectors, and Video |  Adobe Stock">
              <a:extLst>
                <a:ext uri="{FF2B5EF4-FFF2-40B4-BE49-F238E27FC236}">
                  <a16:creationId xmlns:a16="http://schemas.microsoft.com/office/drawing/2014/main" id="{6BF6C812-7078-47BC-19DA-838F754D105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60" name="Picture 4" descr="Pipeline Icon Images – Browse 100,131 Stock Photos, Vectors, and Video |  Adobe Stock">
              <a:extLst>
                <a:ext uri="{FF2B5EF4-FFF2-40B4-BE49-F238E27FC236}">
                  <a16:creationId xmlns:a16="http://schemas.microsoft.com/office/drawing/2014/main" id="{92578476-7542-0330-2CE5-349C4EECD82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61" name="Picture 4" descr="Pipeline Icon Images – Browse 100,131 Stock Photos, Vectors, and Video |  Adobe Stock">
              <a:extLst>
                <a:ext uri="{FF2B5EF4-FFF2-40B4-BE49-F238E27FC236}">
                  <a16:creationId xmlns:a16="http://schemas.microsoft.com/office/drawing/2014/main" id="{EAC565CD-778A-C9CA-AA86-107CCA4FB2F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62" name="Picture 4" descr="Pipeline Icon Images – Browse 100,131 Stock Photos, Vectors, and Video |  Adobe Stock">
              <a:extLst>
                <a:ext uri="{FF2B5EF4-FFF2-40B4-BE49-F238E27FC236}">
                  <a16:creationId xmlns:a16="http://schemas.microsoft.com/office/drawing/2014/main" id="{0D5D4D3D-FAC6-64B5-0EE6-74456374FE5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63" name="Picture 4" descr="Pipeline Icon Images – Browse 100,131 Stock Photos, Vectors, and Video |  Adobe Stock">
              <a:extLst>
                <a:ext uri="{FF2B5EF4-FFF2-40B4-BE49-F238E27FC236}">
                  <a16:creationId xmlns:a16="http://schemas.microsoft.com/office/drawing/2014/main" id="{FCA3C75B-8A26-6CA0-F73B-BFDD3ED2A92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64" name="Picture 4" descr="Pipeline Icon Images – Browse 100,131 Stock Photos, Vectors, and Video |  Adobe Stock">
              <a:extLst>
                <a:ext uri="{FF2B5EF4-FFF2-40B4-BE49-F238E27FC236}">
                  <a16:creationId xmlns:a16="http://schemas.microsoft.com/office/drawing/2014/main" id="{B370D059-98DF-40D6-4485-B405B53864E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pic>
        <p:nvPicPr>
          <p:cNvPr id="65" name="Picture 4" descr="Pipeline Icon Images – Browse 100,131 Stock Photos, Vectors, and Video |  Adobe Stock">
            <a:extLst>
              <a:ext uri="{FF2B5EF4-FFF2-40B4-BE49-F238E27FC236}">
                <a16:creationId xmlns:a16="http://schemas.microsoft.com/office/drawing/2014/main" id="{D017685C-6264-F2AF-85CC-14C5A2D4B3E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9188833" y="5026550"/>
            <a:ext cx="259346" cy="300216"/>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a:extLst>
              <a:ext uri="{FF2B5EF4-FFF2-40B4-BE49-F238E27FC236}">
                <a16:creationId xmlns:a16="http://schemas.microsoft.com/office/drawing/2014/main" id="{5E66FA9E-D29A-5A0D-3DBD-F2510EAD4E6D}"/>
              </a:ext>
            </a:extLst>
          </p:cNvPr>
          <p:cNvGrpSpPr/>
          <p:nvPr/>
        </p:nvGrpSpPr>
        <p:grpSpPr>
          <a:xfrm>
            <a:off x="9452556" y="5238634"/>
            <a:ext cx="136759" cy="186694"/>
            <a:chOff x="6098836" y="2071903"/>
            <a:chExt cx="350292" cy="478196"/>
          </a:xfrm>
        </p:grpSpPr>
        <p:pic>
          <p:nvPicPr>
            <p:cNvPr id="67" name="Picture 4" descr="Pipeline Icon Images – Browse 100,131 Stock Photos, Vectors, and Video |  Adobe Stock">
              <a:extLst>
                <a:ext uri="{FF2B5EF4-FFF2-40B4-BE49-F238E27FC236}">
                  <a16:creationId xmlns:a16="http://schemas.microsoft.com/office/drawing/2014/main" id="{D087D4F8-FF98-BD30-E0F2-F13F7546A5C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68" name="Picture 4" descr="Pipeline Icon Images – Browse 100,131 Stock Photos, Vectors, and Video |  Adobe Stock">
              <a:extLst>
                <a:ext uri="{FF2B5EF4-FFF2-40B4-BE49-F238E27FC236}">
                  <a16:creationId xmlns:a16="http://schemas.microsoft.com/office/drawing/2014/main" id="{DD6ADA33-18A7-A37F-2940-0479F1477A8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83A7A672-1929-899F-D8FE-6599D181B023}"/>
              </a:ext>
            </a:extLst>
          </p:cNvPr>
          <p:cNvGrpSpPr/>
          <p:nvPr/>
        </p:nvGrpSpPr>
        <p:grpSpPr>
          <a:xfrm flipV="1">
            <a:off x="9454292" y="5060548"/>
            <a:ext cx="135005" cy="184300"/>
            <a:chOff x="6098836" y="2071903"/>
            <a:chExt cx="350292" cy="478196"/>
          </a:xfrm>
        </p:grpSpPr>
        <p:pic>
          <p:nvPicPr>
            <p:cNvPr id="70" name="Picture 4" descr="Pipeline Icon Images – Browse 100,131 Stock Photos, Vectors, and Video |  Adobe Stock">
              <a:extLst>
                <a:ext uri="{FF2B5EF4-FFF2-40B4-BE49-F238E27FC236}">
                  <a16:creationId xmlns:a16="http://schemas.microsoft.com/office/drawing/2014/main" id="{07D64137-713C-8F5D-6001-66918236F15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71" name="Picture 4" descr="Pipeline Icon Images – Browse 100,131 Stock Photos, Vectors, and Video |  Adobe Stock">
              <a:extLst>
                <a:ext uri="{FF2B5EF4-FFF2-40B4-BE49-F238E27FC236}">
                  <a16:creationId xmlns:a16="http://schemas.microsoft.com/office/drawing/2014/main" id="{1811777D-DE42-0778-FAF2-127EF1C7A2D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72" name="Group 71">
            <a:extLst>
              <a:ext uri="{FF2B5EF4-FFF2-40B4-BE49-F238E27FC236}">
                <a16:creationId xmlns:a16="http://schemas.microsoft.com/office/drawing/2014/main" id="{ECC575C4-D2F6-06B3-8DD5-8BF5CB7B3C72}"/>
              </a:ext>
            </a:extLst>
          </p:cNvPr>
          <p:cNvGrpSpPr/>
          <p:nvPr/>
        </p:nvGrpSpPr>
        <p:grpSpPr>
          <a:xfrm>
            <a:off x="9576365" y="5066584"/>
            <a:ext cx="1334466" cy="58307"/>
            <a:chOff x="6121556" y="1809778"/>
            <a:chExt cx="1334466" cy="58307"/>
          </a:xfrm>
        </p:grpSpPr>
        <p:pic>
          <p:nvPicPr>
            <p:cNvPr id="73" name="Picture 4" descr="Pipeline Icon Images – Browse 100,131 Stock Photos, Vectors, and Video |  Adobe Stock">
              <a:extLst>
                <a:ext uri="{FF2B5EF4-FFF2-40B4-BE49-F238E27FC236}">
                  <a16:creationId xmlns:a16="http://schemas.microsoft.com/office/drawing/2014/main" id="{43019872-D23E-03F7-BF0D-B5D29B78332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4" name="Picture 4" descr="Pipeline Icon Images – Browse 100,131 Stock Photos, Vectors, and Video |  Adobe Stock">
              <a:extLst>
                <a:ext uri="{FF2B5EF4-FFF2-40B4-BE49-F238E27FC236}">
                  <a16:creationId xmlns:a16="http://schemas.microsoft.com/office/drawing/2014/main" id="{C402A49C-4EE4-F0C4-BC11-5577DEF2022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5" name="Picture 4" descr="Pipeline Icon Images – Browse 100,131 Stock Photos, Vectors, and Video |  Adobe Stock">
              <a:extLst>
                <a:ext uri="{FF2B5EF4-FFF2-40B4-BE49-F238E27FC236}">
                  <a16:creationId xmlns:a16="http://schemas.microsoft.com/office/drawing/2014/main" id="{AB566270-0FDD-B745-EBD7-C4B40B9A19C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6" name="Picture 4" descr="Pipeline Icon Images – Browse 100,131 Stock Photos, Vectors, and Video |  Adobe Stock">
              <a:extLst>
                <a:ext uri="{FF2B5EF4-FFF2-40B4-BE49-F238E27FC236}">
                  <a16:creationId xmlns:a16="http://schemas.microsoft.com/office/drawing/2014/main" id="{C89F85BF-5948-7CA2-2521-72741E632BF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7" name="Picture 4" descr="Pipeline Icon Images – Browse 100,131 Stock Photos, Vectors, and Video |  Adobe Stock">
              <a:extLst>
                <a:ext uri="{FF2B5EF4-FFF2-40B4-BE49-F238E27FC236}">
                  <a16:creationId xmlns:a16="http://schemas.microsoft.com/office/drawing/2014/main" id="{87E01D60-D0DF-7932-265E-989392A1249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8" name="Picture 4" descr="Pipeline Icon Images – Browse 100,131 Stock Photos, Vectors, and Video |  Adobe Stock">
              <a:extLst>
                <a:ext uri="{FF2B5EF4-FFF2-40B4-BE49-F238E27FC236}">
                  <a16:creationId xmlns:a16="http://schemas.microsoft.com/office/drawing/2014/main" id="{01BABD4B-9C62-E93A-0FB5-A885DB3BDF3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79" name="Picture 4" descr="Pipeline Icon Images – Browse 100,131 Stock Photos, Vectors, and Video |  Adobe Stock">
              <a:extLst>
                <a:ext uri="{FF2B5EF4-FFF2-40B4-BE49-F238E27FC236}">
                  <a16:creationId xmlns:a16="http://schemas.microsoft.com/office/drawing/2014/main" id="{519593D3-F504-45D8-C8BD-C49A4124A4A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0" name="Picture 4" descr="Pipeline Icon Images – Browse 100,131 Stock Photos, Vectors, and Video |  Adobe Stock">
              <a:extLst>
                <a:ext uri="{FF2B5EF4-FFF2-40B4-BE49-F238E27FC236}">
                  <a16:creationId xmlns:a16="http://schemas.microsoft.com/office/drawing/2014/main" id="{70A79668-F1EC-3849-86BD-056EF12BB20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1" name="Picture 4" descr="Pipeline Icon Images – Browse 100,131 Stock Photos, Vectors, and Video |  Adobe Stock">
              <a:extLst>
                <a:ext uri="{FF2B5EF4-FFF2-40B4-BE49-F238E27FC236}">
                  <a16:creationId xmlns:a16="http://schemas.microsoft.com/office/drawing/2014/main" id="{F033AC54-F725-B09F-AA04-F4C4DEC0E0D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2" name="Picture 4" descr="Pipeline Icon Images – Browse 100,131 Stock Photos, Vectors, and Video |  Adobe Stock">
              <a:extLst>
                <a:ext uri="{FF2B5EF4-FFF2-40B4-BE49-F238E27FC236}">
                  <a16:creationId xmlns:a16="http://schemas.microsoft.com/office/drawing/2014/main" id="{68F572F6-1379-4015-F52F-024977690C6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BA82960C-42FF-EA4B-3A5B-2236B998894F}"/>
              </a:ext>
            </a:extLst>
          </p:cNvPr>
          <p:cNvGrpSpPr/>
          <p:nvPr/>
        </p:nvGrpSpPr>
        <p:grpSpPr>
          <a:xfrm>
            <a:off x="9577441" y="5361743"/>
            <a:ext cx="1334466" cy="58307"/>
            <a:chOff x="6121556" y="1809778"/>
            <a:chExt cx="1334466" cy="58307"/>
          </a:xfrm>
        </p:grpSpPr>
        <p:pic>
          <p:nvPicPr>
            <p:cNvPr id="84" name="Picture 4" descr="Pipeline Icon Images – Browse 100,131 Stock Photos, Vectors, and Video |  Adobe Stock">
              <a:extLst>
                <a:ext uri="{FF2B5EF4-FFF2-40B4-BE49-F238E27FC236}">
                  <a16:creationId xmlns:a16="http://schemas.microsoft.com/office/drawing/2014/main" id="{25D5E152-2626-EB7E-6691-6218243B826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5" name="Picture 4" descr="Pipeline Icon Images – Browse 100,131 Stock Photos, Vectors, and Video |  Adobe Stock">
              <a:extLst>
                <a:ext uri="{FF2B5EF4-FFF2-40B4-BE49-F238E27FC236}">
                  <a16:creationId xmlns:a16="http://schemas.microsoft.com/office/drawing/2014/main" id="{F35E8656-AC7F-BB9B-1C30-5257C930D1D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6" name="Picture 4" descr="Pipeline Icon Images – Browse 100,131 Stock Photos, Vectors, and Video |  Adobe Stock">
              <a:extLst>
                <a:ext uri="{FF2B5EF4-FFF2-40B4-BE49-F238E27FC236}">
                  <a16:creationId xmlns:a16="http://schemas.microsoft.com/office/drawing/2014/main" id="{F43FC428-046F-2A47-A9D3-E9AB4F321D0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7" name="Picture 4" descr="Pipeline Icon Images – Browse 100,131 Stock Photos, Vectors, and Video |  Adobe Stock">
              <a:extLst>
                <a:ext uri="{FF2B5EF4-FFF2-40B4-BE49-F238E27FC236}">
                  <a16:creationId xmlns:a16="http://schemas.microsoft.com/office/drawing/2014/main" id="{ED7445EC-ABB5-C92D-C0C2-BC5D3A63CB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8" name="Picture 4" descr="Pipeline Icon Images – Browse 100,131 Stock Photos, Vectors, and Video |  Adobe Stock">
              <a:extLst>
                <a:ext uri="{FF2B5EF4-FFF2-40B4-BE49-F238E27FC236}">
                  <a16:creationId xmlns:a16="http://schemas.microsoft.com/office/drawing/2014/main" id="{538A2DED-D5A2-5D7E-2293-AD228B2F256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89" name="Picture 4" descr="Pipeline Icon Images – Browse 100,131 Stock Photos, Vectors, and Video |  Adobe Stock">
              <a:extLst>
                <a:ext uri="{FF2B5EF4-FFF2-40B4-BE49-F238E27FC236}">
                  <a16:creationId xmlns:a16="http://schemas.microsoft.com/office/drawing/2014/main" id="{3BDB89A3-9033-843B-82B0-FAFE130940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90" name="Picture 4" descr="Pipeline Icon Images – Browse 100,131 Stock Photos, Vectors, and Video |  Adobe Stock">
              <a:extLst>
                <a:ext uri="{FF2B5EF4-FFF2-40B4-BE49-F238E27FC236}">
                  <a16:creationId xmlns:a16="http://schemas.microsoft.com/office/drawing/2014/main" id="{9080CD82-D937-AE87-ADA4-DEAAF755B76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91" name="Picture 4" descr="Pipeline Icon Images – Browse 100,131 Stock Photos, Vectors, and Video |  Adobe Stock">
              <a:extLst>
                <a:ext uri="{FF2B5EF4-FFF2-40B4-BE49-F238E27FC236}">
                  <a16:creationId xmlns:a16="http://schemas.microsoft.com/office/drawing/2014/main" id="{9A4FD38B-04F8-096C-5FAE-2E56E1D0F5A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92" name="Picture 4" descr="Pipeline Icon Images – Browse 100,131 Stock Photos, Vectors, and Video |  Adobe Stock">
              <a:extLst>
                <a:ext uri="{FF2B5EF4-FFF2-40B4-BE49-F238E27FC236}">
                  <a16:creationId xmlns:a16="http://schemas.microsoft.com/office/drawing/2014/main" id="{715F5589-C5BD-D8D2-311C-915D41781F4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93" name="Picture 4" descr="Pipeline Icon Images – Browse 100,131 Stock Photos, Vectors, and Video |  Adobe Stock">
              <a:extLst>
                <a:ext uri="{FF2B5EF4-FFF2-40B4-BE49-F238E27FC236}">
                  <a16:creationId xmlns:a16="http://schemas.microsoft.com/office/drawing/2014/main" id="{5A0844C8-03A9-8B2D-9DA5-CEEECCB0738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pic>
        <p:nvPicPr>
          <p:cNvPr id="94" name="Picture 4" descr="Pipeline Icon Images – Browse 100,131 Stock Photos, Vectors, and Video |  Adobe Stock">
            <a:extLst>
              <a:ext uri="{FF2B5EF4-FFF2-40B4-BE49-F238E27FC236}">
                <a16:creationId xmlns:a16="http://schemas.microsoft.com/office/drawing/2014/main" id="{2914B98B-5E0C-6B0D-19B6-BBF556D2EF1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3148088" y="4561535"/>
            <a:ext cx="1514519" cy="616646"/>
          </a:xfrm>
          <a:prstGeom prst="rect">
            <a:avLst/>
          </a:prstGeom>
          <a:extLst>
            <a:ext uri="{909E8E84-426E-40DD-AFC4-6F175D3DCCD1}">
              <a14:hiddenFill xmlns:a14="http://schemas.microsoft.com/office/drawing/2010/main">
                <a:solidFill>
                  <a:srgbClr val="FFFFFF"/>
                </a:solidFill>
              </a14:hiddenFill>
            </a:ext>
          </a:extLst>
        </p:spPr>
      </p:pic>
      <p:pic>
        <p:nvPicPr>
          <p:cNvPr id="95" name="Picture 4" descr="Pipeline Icon Images – Browse 100,131 Stock Photos, Vectors, and Video |  Adobe Stock">
            <a:extLst>
              <a:ext uri="{FF2B5EF4-FFF2-40B4-BE49-F238E27FC236}">
                <a16:creationId xmlns:a16="http://schemas.microsoft.com/office/drawing/2014/main" id="{3E24ADA1-EF72-767C-A22C-DA7BC5511D7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5312681" y="4645329"/>
            <a:ext cx="1123729" cy="457534"/>
          </a:xfrm>
          <a:prstGeom prst="rect">
            <a:avLst/>
          </a:prstGeom>
          <a:extLst>
            <a:ext uri="{909E8E84-426E-40DD-AFC4-6F175D3DCCD1}">
              <a14:hiddenFill xmlns:a14="http://schemas.microsoft.com/office/drawing/2010/main">
                <a:solidFill>
                  <a:srgbClr val="FFFFFF"/>
                </a:solidFill>
              </a14:hiddenFill>
            </a:ext>
          </a:extLst>
        </p:spPr>
      </p:pic>
      <p:pic>
        <p:nvPicPr>
          <p:cNvPr id="96" name="Picture 4" descr="Pipeline Icon Images – Browse 100,131 Stock Photos, Vectors, and Video |  Adobe Stock">
            <a:extLst>
              <a:ext uri="{FF2B5EF4-FFF2-40B4-BE49-F238E27FC236}">
                <a16:creationId xmlns:a16="http://schemas.microsoft.com/office/drawing/2014/main" id="{FBB60CAC-0A31-3037-8C2B-F0E2C434FF8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49773" y="4645329"/>
            <a:ext cx="1123729" cy="457534"/>
          </a:xfrm>
          <a:prstGeom prst="rect">
            <a:avLst/>
          </a:prstGeom>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06CF01B5-DAC7-BD12-10A9-D1DDDC9D1997}"/>
              </a:ext>
            </a:extLst>
          </p:cNvPr>
          <p:cNvSpPr/>
          <p:nvPr/>
        </p:nvSpPr>
        <p:spPr>
          <a:xfrm>
            <a:off x="1094586" y="4627312"/>
            <a:ext cx="585069" cy="475552"/>
          </a:xfrm>
          <a:prstGeom prst="rect">
            <a:avLst/>
          </a:prstGeom>
          <a:solidFill>
            <a:srgbClr val="000000"/>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mj-lt"/>
                <a:cs typeface="Poppins" panose="00000500000000000000" pitchFamily="2" charset="0"/>
              </a:rPr>
              <a:t>NTS</a:t>
            </a:r>
          </a:p>
        </p:txBody>
      </p:sp>
      <p:pic>
        <p:nvPicPr>
          <p:cNvPr id="98" name="Picture 4" descr="Pipeline Icon Images – Browse 100,131 Stock Photos, Vectors, and Video |  Adobe Stock">
            <a:extLst>
              <a:ext uri="{FF2B5EF4-FFF2-40B4-BE49-F238E27FC236}">
                <a16:creationId xmlns:a16="http://schemas.microsoft.com/office/drawing/2014/main" id="{F02EFE50-185D-AF75-A630-7F76AF8CC5C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8743" y="4549761"/>
            <a:ext cx="1514519" cy="616646"/>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266C6E53-3007-E5FC-C710-619B90526882}"/>
              </a:ext>
            </a:extLst>
          </p:cNvPr>
          <p:cNvSpPr txBox="1"/>
          <p:nvPr/>
        </p:nvSpPr>
        <p:spPr>
          <a:xfrm>
            <a:off x="690626" y="5815160"/>
            <a:ext cx="1178207" cy="461665"/>
          </a:xfrm>
          <a:prstGeom prst="rect">
            <a:avLst/>
          </a:prstGeom>
          <a:solidFill>
            <a:schemeClr val="accent3">
              <a:lumMod val="20000"/>
              <a:lumOff val="80000"/>
            </a:schemeClr>
          </a:solidFill>
        </p:spPr>
        <p:txBody>
          <a:bodyPr wrap="square" rtlCol="0">
            <a:spAutoFit/>
          </a:bodyPr>
          <a:lstStyle/>
          <a:p>
            <a:r>
              <a:rPr lang="en-US" sz="1200" b="1">
                <a:solidFill>
                  <a:srgbClr val="000000"/>
                </a:solidFill>
                <a:latin typeface="+mj-lt"/>
                <a:cs typeface="Poppins" panose="00000500000000000000" pitchFamily="2" charset="0"/>
              </a:rPr>
              <a:t>Biomethane Supply</a:t>
            </a:r>
            <a:endParaRPr lang="en-GB" sz="1200" b="1">
              <a:solidFill>
                <a:srgbClr val="000000"/>
              </a:solidFill>
              <a:latin typeface="+mj-lt"/>
              <a:cs typeface="Poppins" panose="00000500000000000000" pitchFamily="2" charset="0"/>
            </a:endParaRPr>
          </a:p>
        </p:txBody>
      </p:sp>
      <p:sp>
        <p:nvSpPr>
          <p:cNvPr id="135" name="TextBox 134">
            <a:extLst>
              <a:ext uri="{FF2B5EF4-FFF2-40B4-BE49-F238E27FC236}">
                <a16:creationId xmlns:a16="http://schemas.microsoft.com/office/drawing/2014/main" id="{5E89C3ED-0604-3D29-D719-B9389FD8B013}"/>
              </a:ext>
            </a:extLst>
          </p:cNvPr>
          <p:cNvSpPr txBox="1"/>
          <p:nvPr/>
        </p:nvSpPr>
        <p:spPr>
          <a:xfrm>
            <a:off x="5579403" y="5799666"/>
            <a:ext cx="1554480" cy="400110"/>
          </a:xfrm>
          <a:prstGeom prst="rect">
            <a:avLst/>
          </a:prstGeom>
          <a:noFill/>
          <a:ln w="19050" cap="flat" cmpd="sng" algn="ctr">
            <a:solidFill>
              <a:srgbClr val="6FAF00"/>
            </a:solidFill>
            <a:prstDash val="solid"/>
            <a:miter lim="800000"/>
          </a:ln>
          <a:effectLst/>
        </p:spPr>
        <p:txBody>
          <a:bodyPr wrap="square" lIns="91440" tIns="45720" rIns="91440" bIns="4572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a:rPr>
              <a:t>Large biomethane plants </a:t>
            </a:r>
            <a:endParaRPr lang="en-US" sz="1000" b="1" i="0" u="none" strike="noStrike" kern="0" cap="none" spc="0" normalizeH="0" baseline="0" noProof="0">
              <a:ln>
                <a:noFill/>
              </a:ln>
              <a:solidFill>
                <a:srgbClr val="000000"/>
              </a:solidFill>
              <a:effectLst/>
              <a:uLnTx/>
              <a:uFillTx/>
              <a:latin typeface="+mj-lt"/>
              <a:cs typeface="Poppins"/>
            </a:endParaRPr>
          </a:p>
        </p:txBody>
      </p:sp>
      <p:cxnSp>
        <p:nvCxnSpPr>
          <p:cNvPr id="136" name="Connector: Elbow 135">
            <a:extLst>
              <a:ext uri="{FF2B5EF4-FFF2-40B4-BE49-F238E27FC236}">
                <a16:creationId xmlns:a16="http://schemas.microsoft.com/office/drawing/2014/main" id="{C6D5511F-10DD-5302-90C8-437DDEC0BF3D}"/>
              </a:ext>
            </a:extLst>
          </p:cNvPr>
          <p:cNvCxnSpPr>
            <a:cxnSpLocks/>
            <a:stCxn id="95" idx="2"/>
            <a:endCxn id="135" idx="0"/>
          </p:cNvCxnSpPr>
          <p:nvPr/>
        </p:nvCxnSpPr>
        <p:spPr>
          <a:xfrm rot="16200000" flipH="1">
            <a:off x="5767193" y="5210215"/>
            <a:ext cx="696803" cy="482097"/>
          </a:xfrm>
          <a:prstGeom prst="bentConnector3">
            <a:avLst>
              <a:gd name="adj1" fmla="val 50000"/>
            </a:avLst>
          </a:prstGeom>
          <a:noFill/>
          <a:ln w="38100" cap="flat" cmpd="sng" algn="ctr">
            <a:solidFill>
              <a:srgbClr val="6FAF00"/>
            </a:solidFill>
            <a:prstDash val="solid"/>
            <a:miter lim="800000"/>
            <a:headEnd type="triangle" w="med" len="med"/>
            <a:tailEnd type="none" w="med" len="med"/>
          </a:ln>
          <a:effectLst/>
        </p:spPr>
      </p:cxnSp>
      <p:sp>
        <p:nvSpPr>
          <p:cNvPr id="137" name="TextBox 136">
            <a:extLst>
              <a:ext uri="{FF2B5EF4-FFF2-40B4-BE49-F238E27FC236}">
                <a16:creationId xmlns:a16="http://schemas.microsoft.com/office/drawing/2014/main" id="{63150FB0-DD7E-AADF-A881-4BAF8F17DC08}"/>
              </a:ext>
            </a:extLst>
          </p:cNvPr>
          <p:cNvSpPr txBox="1"/>
          <p:nvPr/>
        </p:nvSpPr>
        <p:spPr>
          <a:xfrm>
            <a:off x="8081614" y="5801337"/>
            <a:ext cx="2325377" cy="400110"/>
          </a:xfrm>
          <a:prstGeom prst="rect">
            <a:avLst/>
          </a:prstGeom>
          <a:noFill/>
          <a:ln w="19050" cap="flat" cmpd="sng" algn="ctr">
            <a:solidFill>
              <a:srgbClr val="0095B0"/>
            </a:solidFill>
            <a:prstDash val="solid"/>
            <a:miter lim="800000"/>
          </a:ln>
          <a:effectLst/>
        </p:spPr>
        <p:txBody>
          <a:bodyPr wrap="square" lIns="91440" tIns="45720" rIns="91440" bIns="4572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a:rPr>
              <a:t>Medium and small biomethane plants</a:t>
            </a:r>
          </a:p>
        </p:txBody>
      </p:sp>
      <p:cxnSp>
        <p:nvCxnSpPr>
          <p:cNvPr id="138" name="Connector: Elbow 137">
            <a:extLst>
              <a:ext uri="{FF2B5EF4-FFF2-40B4-BE49-F238E27FC236}">
                <a16:creationId xmlns:a16="http://schemas.microsoft.com/office/drawing/2014/main" id="{68281F71-8F8E-4B39-F384-E7DA0AA91E2C}"/>
              </a:ext>
            </a:extLst>
          </p:cNvPr>
          <p:cNvCxnSpPr>
            <a:cxnSpLocks/>
            <a:stCxn id="31" idx="2"/>
            <a:endCxn id="137" idx="0"/>
          </p:cNvCxnSpPr>
          <p:nvPr/>
        </p:nvCxnSpPr>
        <p:spPr>
          <a:xfrm rot="16200000" flipH="1">
            <a:off x="8562190" y="5119223"/>
            <a:ext cx="465057" cy="899169"/>
          </a:xfrm>
          <a:prstGeom prst="bentConnector3">
            <a:avLst>
              <a:gd name="adj1" fmla="val 76058"/>
            </a:avLst>
          </a:prstGeom>
          <a:noFill/>
          <a:ln w="38100" cap="flat" cmpd="sng" algn="ctr">
            <a:solidFill>
              <a:srgbClr val="0095B0"/>
            </a:solidFill>
            <a:prstDash val="solid"/>
            <a:miter lim="800000"/>
            <a:headEnd type="triangle" w="med" len="med"/>
            <a:tailEnd type="none" w="med" len="med"/>
          </a:ln>
          <a:effectLst/>
        </p:spPr>
      </p:cxnSp>
      <p:sp>
        <p:nvSpPr>
          <p:cNvPr id="143" name="TextBox 142">
            <a:extLst>
              <a:ext uri="{FF2B5EF4-FFF2-40B4-BE49-F238E27FC236}">
                <a16:creationId xmlns:a16="http://schemas.microsoft.com/office/drawing/2014/main" id="{2C0EC858-1783-9498-47F5-70125EA2DDBE}"/>
              </a:ext>
            </a:extLst>
          </p:cNvPr>
          <p:cNvSpPr txBox="1"/>
          <p:nvPr/>
        </p:nvSpPr>
        <p:spPr>
          <a:xfrm>
            <a:off x="5775471" y="3933435"/>
            <a:ext cx="1119616" cy="553998"/>
          </a:xfrm>
          <a:prstGeom prst="rect">
            <a:avLst/>
          </a:prstGeom>
          <a:solidFill>
            <a:srgbClr val="92D050"/>
          </a:solidFill>
        </p:spPr>
        <p:txBody>
          <a:bodyPr wrap="square" rtlCol="0">
            <a:spAutoFit/>
          </a:bodyPr>
          <a:lstStyle/>
          <a:p>
            <a:pPr algn="ctr"/>
            <a:r>
              <a:rPr lang="en-US" sz="1000" b="1">
                <a:solidFill>
                  <a:schemeClr val="bg1"/>
                </a:solidFill>
                <a:latin typeface="+mj-lt"/>
                <a:cs typeface="Poppins" panose="00000500000000000000" pitchFamily="2" charset="0"/>
              </a:rPr>
              <a:t>Intermediate Pressure</a:t>
            </a:r>
          </a:p>
          <a:p>
            <a:pPr algn="ctr"/>
            <a:r>
              <a:rPr lang="en-US" sz="1000">
                <a:solidFill>
                  <a:schemeClr val="bg1"/>
                </a:solidFill>
                <a:latin typeface="+mj-lt"/>
                <a:cs typeface="Poppins" panose="00000500000000000000" pitchFamily="2" charset="0"/>
              </a:rPr>
              <a:t>7 bar </a:t>
            </a:r>
            <a:r>
              <a:rPr lang="en-US" sz="1000">
                <a:solidFill>
                  <a:schemeClr val="bg1"/>
                </a:solidFill>
                <a:latin typeface="+mj-lt"/>
                <a:cs typeface="Poppins" panose="00000500000000000000" pitchFamily="2" charset="0"/>
                <a:sym typeface="Wingdings" panose="05000000000000000000" pitchFamily="2" charset="2"/>
              </a:rPr>
              <a:t>&gt; 2 bar</a:t>
            </a:r>
            <a:endParaRPr lang="en-GB" sz="1000">
              <a:solidFill>
                <a:schemeClr val="bg1"/>
              </a:solidFill>
              <a:latin typeface="+mj-lt"/>
              <a:cs typeface="Poppins" panose="00000500000000000000" pitchFamily="2" charset="0"/>
            </a:endParaRPr>
          </a:p>
        </p:txBody>
      </p:sp>
      <p:sp>
        <p:nvSpPr>
          <p:cNvPr id="144" name="TextBox 143">
            <a:extLst>
              <a:ext uri="{FF2B5EF4-FFF2-40B4-BE49-F238E27FC236}">
                <a16:creationId xmlns:a16="http://schemas.microsoft.com/office/drawing/2014/main" id="{33D14A2E-23FB-60C6-5002-D9B081958A12}"/>
              </a:ext>
            </a:extLst>
          </p:cNvPr>
          <p:cNvSpPr txBox="1"/>
          <p:nvPr/>
        </p:nvSpPr>
        <p:spPr>
          <a:xfrm>
            <a:off x="8104031" y="3959948"/>
            <a:ext cx="1175506" cy="553998"/>
          </a:xfrm>
          <a:prstGeom prst="rect">
            <a:avLst/>
          </a:prstGeom>
          <a:solidFill>
            <a:srgbClr val="00B0F0"/>
          </a:solidFill>
        </p:spPr>
        <p:txBody>
          <a:bodyPr wrap="square" rtlCol="0">
            <a:spAutoFit/>
          </a:bodyPr>
          <a:lstStyle/>
          <a:p>
            <a:pPr algn="ctr"/>
            <a:r>
              <a:rPr lang="en-US" sz="1000" b="1">
                <a:solidFill>
                  <a:schemeClr val="bg1"/>
                </a:solidFill>
                <a:latin typeface="+mj-lt"/>
                <a:cs typeface="Poppins" panose="00000500000000000000" pitchFamily="2" charset="0"/>
              </a:rPr>
              <a:t>Medium Pressure</a:t>
            </a:r>
          </a:p>
          <a:p>
            <a:pPr algn="ctr"/>
            <a:r>
              <a:rPr lang="en-US" sz="1000">
                <a:solidFill>
                  <a:schemeClr val="bg1"/>
                </a:solidFill>
                <a:latin typeface="+mj-lt"/>
                <a:cs typeface="Poppins" panose="00000500000000000000" pitchFamily="2" charset="0"/>
              </a:rPr>
              <a:t>2 bar </a:t>
            </a:r>
            <a:r>
              <a:rPr lang="en-US" sz="1000">
                <a:solidFill>
                  <a:schemeClr val="bg1"/>
                </a:solidFill>
                <a:latin typeface="+mj-lt"/>
                <a:cs typeface="Poppins" panose="00000500000000000000" pitchFamily="2" charset="0"/>
                <a:sym typeface="Wingdings" panose="05000000000000000000" pitchFamily="2" charset="2"/>
              </a:rPr>
              <a:t>&gt; 75 mbar</a:t>
            </a:r>
            <a:endParaRPr lang="en-GB" sz="1000">
              <a:solidFill>
                <a:schemeClr val="bg1"/>
              </a:solidFill>
              <a:latin typeface="+mj-lt"/>
              <a:cs typeface="Poppins" panose="00000500000000000000" pitchFamily="2" charset="0"/>
            </a:endParaRPr>
          </a:p>
        </p:txBody>
      </p:sp>
      <p:sp>
        <p:nvSpPr>
          <p:cNvPr id="145" name="TextBox 144">
            <a:extLst>
              <a:ext uri="{FF2B5EF4-FFF2-40B4-BE49-F238E27FC236}">
                <a16:creationId xmlns:a16="http://schemas.microsoft.com/office/drawing/2014/main" id="{D09BC186-3BB5-5422-20AA-8505581D5CF7}"/>
              </a:ext>
            </a:extLst>
          </p:cNvPr>
          <p:cNvSpPr txBox="1"/>
          <p:nvPr/>
        </p:nvSpPr>
        <p:spPr>
          <a:xfrm>
            <a:off x="9748022" y="3982847"/>
            <a:ext cx="869292" cy="553998"/>
          </a:xfrm>
          <a:prstGeom prst="rect">
            <a:avLst/>
          </a:prstGeom>
          <a:solidFill>
            <a:srgbClr val="FF0000"/>
          </a:solidFill>
        </p:spPr>
        <p:txBody>
          <a:bodyPr wrap="square" rtlCol="0">
            <a:spAutoFit/>
          </a:bodyPr>
          <a:lstStyle/>
          <a:p>
            <a:pPr algn="ctr"/>
            <a:r>
              <a:rPr lang="en-US" sz="1000" b="1">
                <a:solidFill>
                  <a:schemeClr val="bg1"/>
                </a:solidFill>
                <a:latin typeface="+mj-lt"/>
                <a:cs typeface="Poppins" panose="00000500000000000000" pitchFamily="2" charset="0"/>
              </a:rPr>
              <a:t>Low Pressure</a:t>
            </a:r>
          </a:p>
          <a:p>
            <a:pPr algn="ctr"/>
            <a:r>
              <a:rPr lang="en-US" sz="1000">
                <a:solidFill>
                  <a:schemeClr val="bg1"/>
                </a:solidFill>
                <a:latin typeface="+mj-lt"/>
                <a:cs typeface="Poppins" panose="00000500000000000000" pitchFamily="2" charset="0"/>
              </a:rPr>
              <a:t>75 mbar &gt;</a:t>
            </a:r>
            <a:endParaRPr lang="en-GB" sz="1000">
              <a:solidFill>
                <a:schemeClr val="bg1"/>
              </a:solidFill>
              <a:latin typeface="+mj-lt"/>
              <a:cs typeface="Poppins" panose="00000500000000000000" pitchFamily="2" charset="0"/>
            </a:endParaRPr>
          </a:p>
        </p:txBody>
      </p:sp>
      <p:sp>
        <p:nvSpPr>
          <p:cNvPr id="146" name="Rectangle 145">
            <a:extLst>
              <a:ext uri="{FF2B5EF4-FFF2-40B4-BE49-F238E27FC236}">
                <a16:creationId xmlns:a16="http://schemas.microsoft.com/office/drawing/2014/main" id="{B53D93BA-686A-7080-A5D2-5766D4C9A1C9}"/>
              </a:ext>
            </a:extLst>
          </p:cNvPr>
          <p:cNvSpPr/>
          <p:nvPr/>
        </p:nvSpPr>
        <p:spPr>
          <a:xfrm>
            <a:off x="7483010" y="4617007"/>
            <a:ext cx="1774897" cy="728980"/>
          </a:xfrm>
          <a:prstGeom prst="rect">
            <a:avLst/>
          </a:prstGeom>
          <a:noFill/>
          <a:ln w="3810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GB"/>
          </a:p>
        </p:txBody>
      </p:sp>
      <p:sp>
        <p:nvSpPr>
          <p:cNvPr id="147" name="TextBox 146">
            <a:extLst>
              <a:ext uri="{FF2B5EF4-FFF2-40B4-BE49-F238E27FC236}">
                <a16:creationId xmlns:a16="http://schemas.microsoft.com/office/drawing/2014/main" id="{E3C1C1ED-8321-1A3F-43D4-5B59810115DA}"/>
              </a:ext>
            </a:extLst>
          </p:cNvPr>
          <p:cNvSpPr txBox="1"/>
          <p:nvPr/>
        </p:nvSpPr>
        <p:spPr>
          <a:xfrm>
            <a:off x="3403551" y="3929760"/>
            <a:ext cx="1052176" cy="553998"/>
          </a:xfrm>
          <a:prstGeom prst="rect">
            <a:avLst/>
          </a:prstGeom>
          <a:solidFill>
            <a:srgbClr val="FFC000"/>
          </a:solidFill>
        </p:spPr>
        <p:txBody>
          <a:bodyPr wrap="square" rtlCol="0">
            <a:spAutoFit/>
          </a:bodyPr>
          <a:lstStyle/>
          <a:p>
            <a:pPr algn="ctr"/>
            <a:r>
              <a:rPr lang="en-US" sz="1000" b="1">
                <a:solidFill>
                  <a:schemeClr val="bg1"/>
                </a:solidFill>
                <a:latin typeface="+mj-lt"/>
                <a:cs typeface="Poppins" panose="00000500000000000000" pitchFamily="2" charset="0"/>
              </a:rPr>
              <a:t>High Pressure</a:t>
            </a:r>
          </a:p>
          <a:p>
            <a:pPr algn="ctr"/>
            <a:r>
              <a:rPr lang="en-US" sz="1000">
                <a:solidFill>
                  <a:schemeClr val="bg1"/>
                </a:solidFill>
                <a:latin typeface="+mj-lt"/>
                <a:cs typeface="Poppins" panose="00000500000000000000" pitchFamily="2" charset="0"/>
              </a:rPr>
              <a:t>38 bar </a:t>
            </a:r>
            <a:r>
              <a:rPr lang="en-US" sz="1000">
                <a:solidFill>
                  <a:schemeClr val="bg1"/>
                </a:solidFill>
                <a:latin typeface="+mj-lt"/>
                <a:cs typeface="Poppins" panose="00000500000000000000" pitchFamily="2" charset="0"/>
                <a:sym typeface="Wingdings" panose="05000000000000000000" pitchFamily="2" charset="2"/>
              </a:rPr>
              <a:t>&gt; 7 bar</a:t>
            </a:r>
            <a:endParaRPr lang="en-GB" sz="1000">
              <a:solidFill>
                <a:schemeClr val="bg1"/>
              </a:solidFill>
              <a:latin typeface="+mj-lt"/>
              <a:cs typeface="Poppins" panose="00000500000000000000" pitchFamily="2" charset="0"/>
            </a:endParaRPr>
          </a:p>
        </p:txBody>
      </p:sp>
      <p:sp>
        <p:nvSpPr>
          <p:cNvPr id="148" name="TextBox 147">
            <a:extLst>
              <a:ext uri="{FF2B5EF4-FFF2-40B4-BE49-F238E27FC236}">
                <a16:creationId xmlns:a16="http://schemas.microsoft.com/office/drawing/2014/main" id="{F7994984-DD8F-D1A5-1CC2-711219180444}"/>
              </a:ext>
            </a:extLst>
          </p:cNvPr>
          <p:cNvSpPr txBox="1"/>
          <p:nvPr/>
        </p:nvSpPr>
        <p:spPr>
          <a:xfrm>
            <a:off x="2158987" y="5780455"/>
            <a:ext cx="1554480" cy="400110"/>
          </a:xfrm>
          <a:prstGeom prst="rect">
            <a:avLst/>
          </a:prstGeom>
          <a:noFill/>
          <a:ln w="19050" cap="flat" cmpd="sng" algn="ctr">
            <a:solidFill>
              <a:schemeClr val="accent3"/>
            </a:solidFill>
            <a:prstDash val="solid"/>
            <a:miter lim="800000"/>
          </a:ln>
          <a:effectLst/>
        </p:spPr>
        <p:txBody>
          <a:bodyPr wrap="square" lIns="91440" tIns="45720" rIns="91440" bIns="4572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a:rPr>
              <a:t>Very Large biomethane plants </a:t>
            </a:r>
            <a:endParaRPr lang="en-US" sz="1000" b="1" i="0" u="none" strike="noStrike" kern="0" cap="none" spc="0" normalizeH="0" baseline="0" noProof="0">
              <a:ln>
                <a:noFill/>
              </a:ln>
              <a:solidFill>
                <a:srgbClr val="000000"/>
              </a:solidFill>
              <a:effectLst/>
              <a:uLnTx/>
              <a:uFillTx/>
              <a:latin typeface="+mj-lt"/>
              <a:cs typeface="Poppins"/>
            </a:endParaRPr>
          </a:p>
        </p:txBody>
      </p:sp>
      <p:cxnSp>
        <p:nvCxnSpPr>
          <p:cNvPr id="151" name="Connector: Elbow 150">
            <a:extLst>
              <a:ext uri="{FF2B5EF4-FFF2-40B4-BE49-F238E27FC236}">
                <a16:creationId xmlns:a16="http://schemas.microsoft.com/office/drawing/2014/main" id="{1950D3F5-31BB-0D3B-DAEE-6557DF9990F0}"/>
              </a:ext>
            </a:extLst>
          </p:cNvPr>
          <p:cNvCxnSpPr>
            <a:cxnSpLocks/>
            <a:stCxn id="98" idx="2"/>
            <a:endCxn id="148" idx="0"/>
          </p:cNvCxnSpPr>
          <p:nvPr/>
        </p:nvCxnSpPr>
        <p:spPr>
          <a:xfrm rot="16200000" flipH="1">
            <a:off x="1909091" y="4753319"/>
            <a:ext cx="614048" cy="1440224"/>
          </a:xfrm>
          <a:prstGeom prst="bentConnector3">
            <a:avLst>
              <a:gd name="adj1" fmla="val 50000"/>
            </a:avLst>
          </a:prstGeom>
          <a:noFill/>
          <a:ln w="38100" cap="flat" cmpd="sng" algn="ctr">
            <a:solidFill>
              <a:schemeClr val="accent3"/>
            </a:solidFill>
            <a:prstDash val="solid"/>
            <a:miter lim="800000"/>
            <a:headEnd type="triangle" w="med" len="med"/>
            <a:tailEnd type="none" w="med" len="med"/>
          </a:ln>
          <a:effectLst/>
        </p:spPr>
      </p:cxnSp>
      <p:sp>
        <p:nvSpPr>
          <p:cNvPr id="175" name="TextBox 174">
            <a:extLst>
              <a:ext uri="{FF2B5EF4-FFF2-40B4-BE49-F238E27FC236}">
                <a16:creationId xmlns:a16="http://schemas.microsoft.com/office/drawing/2014/main" id="{97657E1C-F88A-EBF4-DAFC-13F946064FBB}"/>
              </a:ext>
            </a:extLst>
          </p:cNvPr>
          <p:cNvSpPr txBox="1"/>
          <p:nvPr/>
        </p:nvSpPr>
        <p:spPr>
          <a:xfrm>
            <a:off x="867096" y="4041383"/>
            <a:ext cx="1383365" cy="400110"/>
          </a:xfrm>
          <a:prstGeom prst="rect">
            <a:avLst/>
          </a:prstGeom>
          <a:solidFill>
            <a:schemeClr val="accent3"/>
          </a:solidFill>
        </p:spPr>
        <p:txBody>
          <a:bodyPr wrap="square" rtlCol="0">
            <a:spAutoFit/>
          </a:bodyPr>
          <a:lstStyle/>
          <a:p>
            <a:pPr algn="ctr"/>
            <a:r>
              <a:rPr lang="en-US" sz="1000" b="1">
                <a:solidFill>
                  <a:schemeClr val="bg1"/>
                </a:solidFill>
                <a:latin typeface="+mj-lt"/>
                <a:cs typeface="Poppins" panose="00000500000000000000" pitchFamily="2" charset="0"/>
              </a:rPr>
              <a:t>NTS</a:t>
            </a:r>
          </a:p>
          <a:p>
            <a:pPr algn="ctr"/>
            <a:r>
              <a:rPr lang="en-US" sz="1000">
                <a:solidFill>
                  <a:schemeClr val="bg1"/>
                </a:solidFill>
                <a:latin typeface="+mj-lt"/>
                <a:cs typeface="Poppins" panose="00000500000000000000" pitchFamily="2" charset="0"/>
              </a:rPr>
              <a:t>85 bar </a:t>
            </a:r>
            <a:r>
              <a:rPr lang="en-US" sz="1000">
                <a:solidFill>
                  <a:schemeClr val="bg1"/>
                </a:solidFill>
                <a:latin typeface="+mj-lt"/>
                <a:cs typeface="Poppins" panose="00000500000000000000" pitchFamily="2" charset="0"/>
                <a:sym typeface="Wingdings" panose="05000000000000000000" pitchFamily="2" charset="2"/>
              </a:rPr>
              <a:t> 38 bar</a:t>
            </a:r>
            <a:endParaRPr lang="en-GB" sz="1000">
              <a:solidFill>
                <a:schemeClr val="bg1"/>
              </a:solidFill>
              <a:latin typeface="+mj-lt"/>
              <a:cs typeface="Poppins" panose="00000500000000000000" pitchFamily="2" charset="0"/>
            </a:endParaRPr>
          </a:p>
        </p:txBody>
      </p:sp>
      <p:sp>
        <p:nvSpPr>
          <p:cNvPr id="133" name="Rectangle 132">
            <a:extLst>
              <a:ext uri="{FF2B5EF4-FFF2-40B4-BE49-F238E27FC236}">
                <a16:creationId xmlns:a16="http://schemas.microsoft.com/office/drawing/2014/main" id="{6589769B-16E3-4D20-0D7C-07B58B951A3B}"/>
              </a:ext>
            </a:extLst>
          </p:cNvPr>
          <p:cNvSpPr/>
          <p:nvPr/>
        </p:nvSpPr>
        <p:spPr>
          <a:xfrm>
            <a:off x="637273" y="3845023"/>
            <a:ext cx="10908402" cy="2546709"/>
          </a:xfrm>
          <a:prstGeom prst="rect">
            <a:avLst/>
          </a:prstGeom>
          <a:noFill/>
          <a:ln>
            <a:solidFill>
              <a:schemeClr val="accent3"/>
            </a:solid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j-lt"/>
              <a:ea typeface="+mn-ea"/>
              <a:cs typeface="+mn-cs"/>
            </a:endParaRPr>
          </a:p>
        </p:txBody>
      </p:sp>
      <p:sp>
        <p:nvSpPr>
          <p:cNvPr id="2" name="TextBox 1">
            <a:extLst>
              <a:ext uri="{FF2B5EF4-FFF2-40B4-BE49-F238E27FC236}">
                <a16:creationId xmlns:a16="http://schemas.microsoft.com/office/drawing/2014/main" id="{20AEE6B2-6456-0989-F90C-8F31EDA41399}"/>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627277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2BE15-0E25-1FA8-FAB2-72C3CA2442AD}"/>
            </a:ext>
          </a:extLst>
        </p:cNvPr>
        <p:cNvGrpSpPr/>
        <p:nvPr/>
      </p:nvGrpSpPr>
      <p:grpSpPr>
        <a:xfrm>
          <a:off x="0" y="0"/>
          <a:ext cx="0" cy="0"/>
          <a:chOff x="0" y="0"/>
          <a:chExt cx="0" cy="0"/>
        </a:xfrm>
      </p:grpSpPr>
      <p:pic>
        <p:nvPicPr>
          <p:cNvPr id="246" name="Picture 4" descr="Pipeline Icon Images – Browse 100,131 Stock Photos, Vectors, and Video |  Adobe Stock">
            <a:extLst>
              <a:ext uri="{FF2B5EF4-FFF2-40B4-BE49-F238E27FC236}">
                <a16:creationId xmlns:a16="http://schemas.microsoft.com/office/drawing/2014/main" id="{BB1BDE7A-7400-9BE1-37FA-42D37B37E75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1247" t="9919" r="5448" b="57095"/>
          <a:stretch/>
        </p:blipFill>
        <p:spPr bwMode="auto">
          <a:xfrm>
            <a:off x="9471196" y="4094911"/>
            <a:ext cx="259346" cy="300216"/>
          </a:xfrm>
          <a:prstGeom prst="rect">
            <a:avLst/>
          </a:prstGeom>
          <a:extLst>
            <a:ext uri="{909E8E84-426E-40DD-AFC4-6F175D3DCCD1}">
              <a14:hiddenFill xmlns:a14="http://schemas.microsoft.com/office/drawing/2010/main">
                <a:solidFill>
                  <a:srgbClr val="FFFFFF"/>
                </a:solidFill>
              </a14:hiddenFill>
            </a:ext>
          </a:extLst>
        </p:spPr>
      </p:pic>
      <p:pic>
        <p:nvPicPr>
          <p:cNvPr id="210" name="Picture 4" descr="Pipeline Icon Images – Browse 100,131 Stock Photos, Vectors, and Video |  Adobe Stock">
            <a:extLst>
              <a:ext uri="{FF2B5EF4-FFF2-40B4-BE49-F238E27FC236}">
                <a16:creationId xmlns:a16="http://schemas.microsoft.com/office/drawing/2014/main" id="{8B143BC0-9ED8-8CD6-4AD8-C03E1A269E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1247" t="9919" r="5448" b="57095"/>
          <a:stretch/>
        </p:blipFill>
        <p:spPr bwMode="auto">
          <a:xfrm>
            <a:off x="7660462" y="3312102"/>
            <a:ext cx="748348" cy="8662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hink-cell data - do not delete" hidden="1">
            <a:extLst>
              <a:ext uri="{FF2B5EF4-FFF2-40B4-BE49-F238E27FC236}">
                <a16:creationId xmlns:a16="http://schemas.microsoft.com/office/drawing/2014/main" id="{B457AE0D-1528-AFD0-4A8A-2CF748F80103}"/>
              </a:ext>
            </a:extLst>
          </p:cNvPr>
          <p:cNvGraphicFramePr>
            <a:graphicFrameLocks noChangeAspect="1"/>
          </p:cNvGraphicFramePr>
          <p:nvPr>
            <p:custDataLst>
              <p:tags r:id="rId1"/>
            </p:custDataLst>
            <p:extLst>
              <p:ext uri="{D42A27DB-BD31-4B8C-83A1-F6EECF244321}">
                <p14:modId xmlns:p14="http://schemas.microsoft.com/office/powerpoint/2010/main" val="1891928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9" name="think-cell data - do not delete" hidden="1">
                        <a:extLst>
                          <a:ext uri="{FF2B5EF4-FFF2-40B4-BE49-F238E27FC236}">
                            <a16:creationId xmlns:a16="http://schemas.microsoft.com/office/drawing/2014/main" id="{B457AE0D-1528-AFD0-4A8A-2CF748F801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0" name="Rectangle 329">
            <a:extLst>
              <a:ext uri="{FF2B5EF4-FFF2-40B4-BE49-F238E27FC236}">
                <a16:creationId xmlns:a16="http://schemas.microsoft.com/office/drawing/2014/main" id="{39D34780-B1E3-1C3F-03AC-90AD389B4CB8}"/>
              </a:ext>
            </a:extLst>
          </p:cNvPr>
          <p:cNvSpPr/>
          <p:nvPr/>
        </p:nvSpPr>
        <p:spPr>
          <a:xfrm>
            <a:off x="9556075" y="3739877"/>
            <a:ext cx="585069" cy="1042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BB82F36D-CCC6-D69B-6A0F-C96F325D1A1B}"/>
              </a:ext>
            </a:extLst>
          </p:cNvPr>
          <p:cNvSpPr/>
          <p:nvPr/>
        </p:nvSpPr>
        <p:spPr>
          <a:xfrm>
            <a:off x="10037852" y="5635876"/>
            <a:ext cx="1797977" cy="888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765FA8AC-2967-41EA-690C-A74268912328}"/>
              </a:ext>
            </a:extLst>
          </p:cNvPr>
          <p:cNvSpPr>
            <a:spLocks noGrp="1"/>
          </p:cNvSpPr>
          <p:nvPr>
            <p:ph type="title"/>
          </p:nvPr>
        </p:nvSpPr>
        <p:spPr>
          <a:xfrm>
            <a:off x="637273" y="365126"/>
            <a:ext cx="10515600" cy="621194"/>
          </a:xfrm>
        </p:spPr>
        <p:txBody>
          <a:bodyPr vert="horz" lIns="0">
            <a:normAutofit/>
          </a:bodyPr>
          <a:lstStyle/>
          <a:p>
            <a:r>
              <a:rPr lang="en-US" sz="3200" noProof="0">
                <a:solidFill>
                  <a:schemeClr val="tx2"/>
                </a:solidFill>
                <a:latin typeface="Poppins" pitchFamily="2" charset="77"/>
                <a:cs typeface="Poppins" pitchFamily="2" charset="77"/>
              </a:rPr>
              <a:t>Network Asset Granularity</a:t>
            </a:r>
            <a:endParaRPr lang="en-GB" sz="3200" noProof="0">
              <a:solidFill>
                <a:schemeClr val="tx2"/>
              </a:solidFill>
              <a:latin typeface="Poppins" pitchFamily="2" charset="77"/>
              <a:cs typeface="Poppins" pitchFamily="2" charset="77"/>
            </a:endParaRPr>
          </a:p>
        </p:txBody>
      </p:sp>
      <p:sp>
        <p:nvSpPr>
          <p:cNvPr id="21" name="Rectangle 20">
            <a:extLst>
              <a:ext uri="{FF2B5EF4-FFF2-40B4-BE49-F238E27FC236}">
                <a16:creationId xmlns:a16="http://schemas.microsoft.com/office/drawing/2014/main" id="{4C97EEC4-88E8-3691-B38E-5DB0D328C432}"/>
              </a:ext>
            </a:extLst>
          </p:cNvPr>
          <p:cNvSpPr/>
          <p:nvPr/>
        </p:nvSpPr>
        <p:spPr>
          <a:xfrm>
            <a:off x="637273" y="975486"/>
            <a:ext cx="10908403" cy="62119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45720" rIns="91440" bIns="45720" rtlCol="0" anchor="t"/>
          <a:lstStyle/>
          <a:p>
            <a:r>
              <a:rPr lang="en-US" noProof="0">
                <a:solidFill>
                  <a:schemeClr val="tx2"/>
                </a:solidFill>
                <a:latin typeface="Poppins"/>
                <a:cs typeface="Poppins"/>
              </a:rPr>
              <a:t>Medium Pressure entry assets are at the interface between medium and intermediate/high pressure, a granularity allowing stakeholders to interrogate gas network changes over time</a:t>
            </a:r>
          </a:p>
        </p:txBody>
      </p:sp>
      <p:sp>
        <p:nvSpPr>
          <p:cNvPr id="16" name="TextBox 15">
            <a:extLst>
              <a:ext uri="{FF2B5EF4-FFF2-40B4-BE49-F238E27FC236}">
                <a16:creationId xmlns:a16="http://schemas.microsoft.com/office/drawing/2014/main" id="{604308B4-5E80-B764-514C-3EA5802BEA17}"/>
              </a:ext>
            </a:extLst>
          </p:cNvPr>
          <p:cNvSpPr txBox="1"/>
          <p:nvPr/>
        </p:nvSpPr>
        <p:spPr>
          <a:xfrm>
            <a:off x="1108985" y="1987325"/>
            <a:ext cx="10115806" cy="322268"/>
          </a:xfrm>
          <a:prstGeom prst="rect">
            <a:avLst/>
          </a:prstGeom>
          <a:noFill/>
        </p:spPr>
        <p:txBody>
          <a:bodyPr wrap="square" rtlCol="0">
            <a:spAutoFit/>
          </a:bodyPr>
          <a:lstStyle/>
          <a:p>
            <a:pPr>
              <a:lnSpc>
                <a:spcPct val="150000"/>
              </a:lnSpc>
            </a:pPr>
            <a:r>
              <a:rPr lang="en-US" sz="1100"/>
              <a:t>NESO’s initial approach for visualising gas network data did not present a decision on the granularity of network asset to be modelled against.</a:t>
            </a:r>
          </a:p>
        </p:txBody>
      </p:sp>
      <p:sp>
        <p:nvSpPr>
          <p:cNvPr id="3" name="TextBox 2">
            <a:extLst>
              <a:ext uri="{FF2B5EF4-FFF2-40B4-BE49-F238E27FC236}">
                <a16:creationId xmlns:a16="http://schemas.microsoft.com/office/drawing/2014/main" id="{3A348C4E-7F15-431B-CDD4-B3943A84206E}"/>
              </a:ext>
            </a:extLst>
          </p:cNvPr>
          <p:cNvSpPr txBox="1"/>
          <p:nvPr/>
        </p:nvSpPr>
        <p:spPr>
          <a:xfrm>
            <a:off x="1108985" y="1702379"/>
            <a:ext cx="2912258" cy="307777"/>
          </a:xfrm>
          <a:prstGeom prst="rect">
            <a:avLst/>
          </a:prstGeom>
          <a:noFill/>
        </p:spPr>
        <p:txBody>
          <a:bodyPr wrap="square" rtlCol="0">
            <a:spAutoFit/>
          </a:bodyPr>
          <a:lstStyle/>
          <a:p>
            <a:r>
              <a:rPr lang="en-GB" sz="1400" b="1">
                <a:solidFill>
                  <a:schemeClr val="accent3"/>
                </a:solidFill>
              </a:rPr>
              <a:t>What we heard:  </a:t>
            </a:r>
          </a:p>
        </p:txBody>
      </p:sp>
      <p:sp>
        <p:nvSpPr>
          <p:cNvPr id="4" name="TextBox 3">
            <a:extLst>
              <a:ext uri="{FF2B5EF4-FFF2-40B4-BE49-F238E27FC236}">
                <a16:creationId xmlns:a16="http://schemas.microsoft.com/office/drawing/2014/main" id="{E3BC13BF-27B7-0735-AF2A-1CE46D5DE24A}"/>
              </a:ext>
            </a:extLst>
          </p:cNvPr>
          <p:cNvSpPr txBox="1"/>
          <p:nvPr/>
        </p:nvSpPr>
        <p:spPr>
          <a:xfrm>
            <a:off x="1108985" y="2408413"/>
            <a:ext cx="2912258" cy="307777"/>
          </a:xfrm>
          <a:prstGeom prst="rect">
            <a:avLst/>
          </a:prstGeom>
          <a:noFill/>
        </p:spPr>
        <p:txBody>
          <a:bodyPr wrap="square" rtlCol="0">
            <a:spAutoFit/>
          </a:bodyPr>
          <a:lstStyle/>
          <a:p>
            <a:r>
              <a:rPr lang="en-GB" sz="1400" b="1">
                <a:solidFill>
                  <a:schemeClr val="accent1"/>
                </a:solidFill>
              </a:rPr>
              <a:t>NESO Proposes: </a:t>
            </a:r>
          </a:p>
        </p:txBody>
      </p:sp>
      <p:pic>
        <p:nvPicPr>
          <p:cNvPr id="7" name="Graphic 6" descr="Lightbulb with solid fill">
            <a:extLst>
              <a:ext uri="{FF2B5EF4-FFF2-40B4-BE49-F238E27FC236}">
                <a16:creationId xmlns:a16="http://schemas.microsoft.com/office/drawing/2014/main" id="{74C8F065-91F0-33B9-4633-D34C027908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605" y="2333701"/>
            <a:ext cx="457200" cy="457200"/>
          </a:xfrm>
          <a:prstGeom prst="rect">
            <a:avLst/>
          </a:prstGeom>
        </p:spPr>
      </p:pic>
      <p:pic>
        <p:nvPicPr>
          <p:cNvPr id="10" name="Graphic 9" descr="Megaphone with solid fill">
            <a:extLst>
              <a:ext uri="{FF2B5EF4-FFF2-40B4-BE49-F238E27FC236}">
                <a16:creationId xmlns:a16="http://schemas.microsoft.com/office/drawing/2014/main" id="{04504032-8266-FBE5-F4D1-402AC4998B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5605" y="1627667"/>
            <a:ext cx="457200" cy="457200"/>
          </a:xfrm>
          <a:prstGeom prst="rect">
            <a:avLst/>
          </a:prstGeom>
        </p:spPr>
      </p:pic>
      <p:sp>
        <p:nvSpPr>
          <p:cNvPr id="12" name="TextBox 11">
            <a:extLst>
              <a:ext uri="{FF2B5EF4-FFF2-40B4-BE49-F238E27FC236}">
                <a16:creationId xmlns:a16="http://schemas.microsoft.com/office/drawing/2014/main" id="{10DF432A-2B56-A90D-FDC5-50ECAF9D26B6}"/>
              </a:ext>
            </a:extLst>
          </p:cNvPr>
          <p:cNvSpPr txBox="1"/>
          <p:nvPr/>
        </p:nvSpPr>
        <p:spPr>
          <a:xfrm>
            <a:off x="1108985" y="2681447"/>
            <a:ext cx="10557410" cy="322268"/>
          </a:xfrm>
          <a:prstGeom prst="rect">
            <a:avLst/>
          </a:prstGeom>
          <a:noFill/>
        </p:spPr>
        <p:txBody>
          <a:bodyPr wrap="square" rtlCol="0">
            <a:spAutoFit/>
          </a:bodyPr>
          <a:lstStyle/>
          <a:p>
            <a:pPr>
              <a:lnSpc>
                <a:spcPct val="150000"/>
              </a:lnSpc>
            </a:pPr>
            <a:r>
              <a:rPr lang="en-US" sz="1100">
                <a:solidFill>
                  <a:schemeClr val="dk1"/>
                </a:solidFill>
              </a:rPr>
              <a:t>NESO proposes that GDNs model the required supply and demand related outputs for Spatial Context at their </a:t>
            </a:r>
            <a:r>
              <a:rPr lang="en-US" sz="1100" b="1">
                <a:solidFill>
                  <a:schemeClr val="dk1"/>
                </a:solidFill>
              </a:rPr>
              <a:t>Medium Pressure Entry Assets.</a:t>
            </a:r>
            <a:endParaRPr lang="en-GB" sz="1100" b="1"/>
          </a:p>
        </p:txBody>
      </p:sp>
      <p:sp>
        <p:nvSpPr>
          <p:cNvPr id="22" name="Rectangle 21">
            <a:extLst>
              <a:ext uri="{FF2B5EF4-FFF2-40B4-BE49-F238E27FC236}">
                <a16:creationId xmlns:a16="http://schemas.microsoft.com/office/drawing/2014/main" id="{E52118F4-6714-67A8-625D-B2538E83889F}"/>
              </a:ext>
            </a:extLst>
          </p:cNvPr>
          <p:cNvSpPr/>
          <p:nvPr/>
        </p:nvSpPr>
        <p:spPr>
          <a:xfrm>
            <a:off x="10037851" y="5762931"/>
            <a:ext cx="1797977" cy="888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6" name="Picture 205" descr="Pipeline Icon Images – Browse 100,131 Stock Photos, Vectors, and Video |  Adobe Stock">
            <a:extLst>
              <a:ext uri="{FF2B5EF4-FFF2-40B4-BE49-F238E27FC236}">
                <a16:creationId xmlns:a16="http://schemas.microsoft.com/office/drawing/2014/main" id="{C4433658-52BA-E994-95A4-8254A53A621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1247" t="9919" r="3572" b="57095"/>
          <a:stretch/>
        </p:blipFill>
        <p:spPr bwMode="auto">
          <a:xfrm>
            <a:off x="2549270" y="3310242"/>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4" descr="Pipeline Icon Images – Browse 100,131 Stock Photos, Vectors, and Video |  Adobe Stock">
            <a:extLst>
              <a:ext uri="{FF2B5EF4-FFF2-40B4-BE49-F238E27FC236}">
                <a16:creationId xmlns:a16="http://schemas.microsoft.com/office/drawing/2014/main" id="{781294BC-A763-7222-2FE1-CC14B60A2BC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1247" t="9919" r="3572" b="57095"/>
          <a:stretch/>
        </p:blipFill>
        <p:spPr bwMode="auto">
          <a:xfrm>
            <a:off x="4843176" y="3319700"/>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4" descr="Pipeline Icon Images – Browse 100,131 Stock Photos, Vectors, and Video |  Adobe Stock">
            <a:extLst>
              <a:ext uri="{FF2B5EF4-FFF2-40B4-BE49-F238E27FC236}">
                <a16:creationId xmlns:a16="http://schemas.microsoft.com/office/drawing/2014/main" id="{728EFF98-E690-4D8B-DA88-4710CAA8382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49777" r="78874" b="17237"/>
          <a:stretch/>
        </p:blipFill>
        <p:spPr bwMode="auto">
          <a:xfrm rot="10800000">
            <a:off x="8404688" y="3926445"/>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11" name="Picture 4" descr="Pipeline Icon Images – Browse 100,131 Stock Photos, Vectors, and Video |  Adobe Stock">
            <a:extLst>
              <a:ext uri="{FF2B5EF4-FFF2-40B4-BE49-F238E27FC236}">
                <a16:creationId xmlns:a16="http://schemas.microsoft.com/office/drawing/2014/main" id="{A9F055EB-04BE-F1E9-D938-B6EEE4FF6E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8435826" y="3793506"/>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12" name="Picture 4" descr="Pipeline Icon Images – Browse 100,131 Stock Photos, Vectors, and Video |  Adobe Stock">
            <a:extLst>
              <a:ext uri="{FF2B5EF4-FFF2-40B4-BE49-F238E27FC236}">
                <a16:creationId xmlns:a16="http://schemas.microsoft.com/office/drawing/2014/main" id="{6CC74899-656C-D21C-5859-77C5AA4D35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52932" r="80194" b="17237"/>
          <a:stretch/>
        </p:blipFill>
        <p:spPr bwMode="auto">
          <a:xfrm>
            <a:off x="8500014" y="4148446"/>
            <a:ext cx="254966" cy="256195"/>
          </a:xfrm>
          <a:prstGeom prst="rect">
            <a:avLst/>
          </a:prstGeom>
          <a:extLst>
            <a:ext uri="{909E8E84-426E-40DD-AFC4-6F175D3DCCD1}">
              <a14:hiddenFill xmlns:a14="http://schemas.microsoft.com/office/drawing/2010/main">
                <a:solidFill>
                  <a:srgbClr val="FFFFFF"/>
                </a:solidFill>
              </a14:hiddenFill>
            </a:ext>
          </a:extLst>
        </p:spPr>
      </p:pic>
      <p:pic>
        <p:nvPicPr>
          <p:cNvPr id="213" name="Picture 4" descr="Pipeline Icon Images – Browse 100,131 Stock Photos, Vectors, and Video |  Adobe Stock">
            <a:extLst>
              <a:ext uri="{FF2B5EF4-FFF2-40B4-BE49-F238E27FC236}">
                <a16:creationId xmlns:a16="http://schemas.microsoft.com/office/drawing/2014/main" id="{0E017ACF-B983-0D65-C5B9-4276CD2C24E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8721576" y="4237671"/>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14" name="Picture 4" descr="Pipeline Icon Images – Browse 100,131 Stock Photos, Vectors, and Video |  Adobe Stock">
            <a:extLst>
              <a:ext uri="{FF2B5EF4-FFF2-40B4-BE49-F238E27FC236}">
                <a16:creationId xmlns:a16="http://schemas.microsoft.com/office/drawing/2014/main" id="{4AFC0F93-F7DD-EA07-89DD-519F3739E85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9074002" y="4237671"/>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15" name="Picture 4" descr="Pipeline Icon Images – Browse 100,131 Stock Photos, Vectors, and Video |  Adobe Stock">
            <a:extLst>
              <a:ext uri="{FF2B5EF4-FFF2-40B4-BE49-F238E27FC236}">
                <a16:creationId xmlns:a16="http://schemas.microsoft.com/office/drawing/2014/main" id="{89679A2A-31A2-2CB0-D5DC-C43D35A707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8788230" y="3793506"/>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16" name="Picture 4" descr="Pipeline Icon Images – Browse 100,131 Stock Photos, Vectors, and Video |  Adobe Stock">
            <a:extLst>
              <a:ext uri="{FF2B5EF4-FFF2-40B4-BE49-F238E27FC236}">
                <a16:creationId xmlns:a16="http://schemas.microsoft.com/office/drawing/2014/main" id="{F62DFE16-EDA8-709F-BF91-4AE7390FB6F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9137459" y="3791458"/>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17" name="Picture 4" descr="Pipeline Icon Images – Browse 100,131 Stock Photos, Vectors, and Video |  Adobe Stock">
            <a:extLst>
              <a:ext uri="{FF2B5EF4-FFF2-40B4-BE49-F238E27FC236}">
                <a16:creationId xmlns:a16="http://schemas.microsoft.com/office/drawing/2014/main" id="{B2943190-16E1-71BA-28E5-4AF3CD35185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1247" t="9919" r="5448" b="57095"/>
          <a:stretch/>
        </p:blipFill>
        <p:spPr bwMode="auto">
          <a:xfrm>
            <a:off x="9539483" y="3654499"/>
            <a:ext cx="259346" cy="300216"/>
          </a:xfrm>
          <a:prstGeom prst="rect">
            <a:avLst/>
          </a:prstGeom>
          <a:noFill/>
          <a:extLst>
            <a:ext uri="{909E8E84-426E-40DD-AFC4-6F175D3DCCD1}">
              <a14:hiddenFill xmlns:a14="http://schemas.microsoft.com/office/drawing/2010/main">
                <a:solidFill>
                  <a:srgbClr val="FFFFFF"/>
                </a:solidFill>
              </a14:hiddenFill>
            </a:ext>
          </a:extLst>
        </p:spPr>
      </p:pic>
      <p:grpSp>
        <p:nvGrpSpPr>
          <p:cNvPr id="218" name="Group 217">
            <a:extLst>
              <a:ext uri="{FF2B5EF4-FFF2-40B4-BE49-F238E27FC236}">
                <a16:creationId xmlns:a16="http://schemas.microsoft.com/office/drawing/2014/main" id="{30B8756B-EAAB-79E6-10A2-1A0CBC612764}"/>
              </a:ext>
            </a:extLst>
          </p:cNvPr>
          <p:cNvGrpSpPr/>
          <p:nvPr/>
        </p:nvGrpSpPr>
        <p:grpSpPr>
          <a:xfrm>
            <a:off x="9803206" y="3866583"/>
            <a:ext cx="136759" cy="186694"/>
            <a:chOff x="6098836" y="2071903"/>
            <a:chExt cx="350292" cy="478196"/>
          </a:xfrm>
        </p:grpSpPr>
        <p:pic>
          <p:nvPicPr>
            <p:cNvPr id="219" name="Picture 4" descr="Pipeline Icon Images – Browse 100,131 Stock Photos, Vectors, and Video |  Adobe Stock">
              <a:extLst>
                <a:ext uri="{FF2B5EF4-FFF2-40B4-BE49-F238E27FC236}">
                  <a16:creationId xmlns:a16="http://schemas.microsoft.com/office/drawing/2014/main" id="{6054954D-3B64-78CB-FF53-1EE37E97F2E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20" name="Picture 4" descr="Pipeline Icon Images – Browse 100,131 Stock Photos, Vectors, and Video |  Adobe Stock">
              <a:extLst>
                <a:ext uri="{FF2B5EF4-FFF2-40B4-BE49-F238E27FC236}">
                  <a16:creationId xmlns:a16="http://schemas.microsoft.com/office/drawing/2014/main" id="{FBFD9510-D8E5-1F78-CE22-1E794B5ECED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21" name="Group 220">
            <a:extLst>
              <a:ext uri="{FF2B5EF4-FFF2-40B4-BE49-F238E27FC236}">
                <a16:creationId xmlns:a16="http://schemas.microsoft.com/office/drawing/2014/main" id="{864C9C17-5DB6-B17B-DE74-C5B89D5B3367}"/>
              </a:ext>
            </a:extLst>
          </p:cNvPr>
          <p:cNvGrpSpPr/>
          <p:nvPr/>
        </p:nvGrpSpPr>
        <p:grpSpPr>
          <a:xfrm flipV="1">
            <a:off x="9804942" y="3688497"/>
            <a:ext cx="135005" cy="184300"/>
            <a:chOff x="6098836" y="2071903"/>
            <a:chExt cx="350292" cy="478196"/>
          </a:xfrm>
        </p:grpSpPr>
        <p:pic>
          <p:nvPicPr>
            <p:cNvPr id="222" name="Picture 4" descr="Pipeline Icon Images – Browse 100,131 Stock Photos, Vectors, and Video |  Adobe Stock">
              <a:extLst>
                <a:ext uri="{FF2B5EF4-FFF2-40B4-BE49-F238E27FC236}">
                  <a16:creationId xmlns:a16="http://schemas.microsoft.com/office/drawing/2014/main" id="{D8C6E8E3-BEE9-C682-73DB-161254A9BC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23" name="Picture 4" descr="Pipeline Icon Images – Browse 100,131 Stock Photos, Vectors, and Video |  Adobe Stock">
              <a:extLst>
                <a:ext uri="{FF2B5EF4-FFF2-40B4-BE49-F238E27FC236}">
                  <a16:creationId xmlns:a16="http://schemas.microsoft.com/office/drawing/2014/main" id="{F9E9ACCC-A2B1-6567-7F96-4C272FDF5F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24" name="Group 223">
            <a:extLst>
              <a:ext uri="{FF2B5EF4-FFF2-40B4-BE49-F238E27FC236}">
                <a16:creationId xmlns:a16="http://schemas.microsoft.com/office/drawing/2014/main" id="{D63C5D10-1230-3334-328E-219DFE580E14}"/>
              </a:ext>
            </a:extLst>
          </p:cNvPr>
          <p:cNvGrpSpPr/>
          <p:nvPr/>
        </p:nvGrpSpPr>
        <p:grpSpPr>
          <a:xfrm>
            <a:off x="9927015" y="3694533"/>
            <a:ext cx="1334466" cy="58307"/>
            <a:chOff x="6121556" y="1809778"/>
            <a:chExt cx="1334466" cy="58307"/>
          </a:xfrm>
        </p:grpSpPr>
        <p:pic>
          <p:nvPicPr>
            <p:cNvPr id="225" name="Picture 4" descr="Pipeline Icon Images – Browse 100,131 Stock Photos, Vectors, and Video |  Adobe Stock">
              <a:extLst>
                <a:ext uri="{FF2B5EF4-FFF2-40B4-BE49-F238E27FC236}">
                  <a16:creationId xmlns:a16="http://schemas.microsoft.com/office/drawing/2014/main" id="{D266DDFA-A166-05CE-1084-2B3CCDA064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26" name="Picture 4" descr="Pipeline Icon Images – Browse 100,131 Stock Photos, Vectors, and Video |  Adobe Stock">
              <a:extLst>
                <a:ext uri="{FF2B5EF4-FFF2-40B4-BE49-F238E27FC236}">
                  <a16:creationId xmlns:a16="http://schemas.microsoft.com/office/drawing/2014/main" id="{810678D5-F08E-2CB7-B6E4-9801D61AC8A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27" name="Picture 4" descr="Pipeline Icon Images – Browse 100,131 Stock Photos, Vectors, and Video |  Adobe Stock">
              <a:extLst>
                <a:ext uri="{FF2B5EF4-FFF2-40B4-BE49-F238E27FC236}">
                  <a16:creationId xmlns:a16="http://schemas.microsoft.com/office/drawing/2014/main" id="{4E9898E1-61E4-9671-0570-DB16185E1AE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28" name="Picture 4" descr="Pipeline Icon Images – Browse 100,131 Stock Photos, Vectors, and Video |  Adobe Stock">
              <a:extLst>
                <a:ext uri="{FF2B5EF4-FFF2-40B4-BE49-F238E27FC236}">
                  <a16:creationId xmlns:a16="http://schemas.microsoft.com/office/drawing/2014/main" id="{81D72C22-9691-30D8-5F6E-1DC5E564B9F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29" name="Picture 4" descr="Pipeline Icon Images – Browse 100,131 Stock Photos, Vectors, and Video |  Adobe Stock">
              <a:extLst>
                <a:ext uri="{FF2B5EF4-FFF2-40B4-BE49-F238E27FC236}">
                  <a16:creationId xmlns:a16="http://schemas.microsoft.com/office/drawing/2014/main" id="{3F78C244-6981-FAEF-0560-5C927849961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0" name="Picture 4" descr="Pipeline Icon Images – Browse 100,131 Stock Photos, Vectors, and Video |  Adobe Stock">
              <a:extLst>
                <a:ext uri="{FF2B5EF4-FFF2-40B4-BE49-F238E27FC236}">
                  <a16:creationId xmlns:a16="http://schemas.microsoft.com/office/drawing/2014/main" id="{F27B0D7D-E5D7-75D2-2573-2621D41C62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1" name="Picture 4" descr="Pipeline Icon Images – Browse 100,131 Stock Photos, Vectors, and Video |  Adobe Stock">
              <a:extLst>
                <a:ext uri="{FF2B5EF4-FFF2-40B4-BE49-F238E27FC236}">
                  <a16:creationId xmlns:a16="http://schemas.microsoft.com/office/drawing/2014/main" id="{7BFB20A2-0218-951F-85EC-FD1AEF67EC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2" name="Picture 4" descr="Pipeline Icon Images – Browse 100,131 Stock Photos, Vectors, and Video |  Adobe Stock">
              <a:extLst>
                <a:ext uri="{FF2B5EF4-FFF2-40B4-BE49-F238E27FC236}">
                  <a16:creationId xmlns:a16="http://schemas.microsoft.com/office/drawing/2014/main" id="{B75FDA31-0267-243F-13E9-25DFDA133CB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3" name="Picture 4" descr="Pipeline Icon Images – Browse 100,131 Stock Photos, Vectors, and Video |  Adobe Stock">
              <a:extLst>
                <a:ext uri="{FF2B5EF4-FFF2-40B4-BE49-F238E27FC236}">
                  <a16:creationId xmlns:a16="http://schemas.microsoft.com/office/drawing/2014/main" id="{EEFA9F3D-0712-AC00-B58E-4D1753BA299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4" name="Picture 4" descr="Pipeline Icon Images – Browse 100,131 Stock Photos, Vectors, and Video |  Adobe Stock">
              <a:extLst>
                <a:ext uri="{FF2B5EF4-FFF2-40B4-BE49-F238E27FC236}">
                  <a16:creationId xmlns:a16="http://schemas.microsoft.com/office/drawing/2014/main" id="{4206C574-4670-95B7-F397-6DF3C5C6AA1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235" name="Group 234">
            <a:extLst>
              <a:ext uri="{FF2B5EF4-FFF2-40B4-BE49-F238E27FC236}">
                <a16:creationId xmlns:a16="http://schemas.microsoft.com/office/drawing/2014/main" id="{1AC120CD-41A9-3F0C-324E-059B370652AE}"/>
              </a:ext>
            </a:extLst>
          </p:cNvPr>
          <p:cNvGrpSpPr/>
          <p:nvPr/>
        </p:nvGrpSpPr>
        <p:grpSpPr>
          <a:xfrm>
            <a:off x="9928091" y="3989692"/>
            <a:ext cx="1334466" cy="58307"/>
            <a:chOff x="6121556" y="1809778"/>
            <a:chExt cx="1334466" cy="58307"/>
          </a:xfrm>
        </p:grpSpPr>
        <p:pic>
          <p:nvPicPr>
            <p:cNvPr id="236" name="Picture 4" descr="Pipeline Icon Images – Browse 100,131 Stock Photos, Vectors, and Video |  Adobe Stock">
              <a:extLst>
                <a:ext uri="{FF2B5EF4-FFF2-40B4-BE49-F238E27FC236}">
                  <a16:creationId xmlns:a16="http://schemas.microsoft.com/office/drawing/2014/main" id="{99A94757-A8B3-17DF-A6C7-07F46B924DD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7" name="Picture 4" descr="Pipeline Icon Images – Browse 100,131 Stock Photos, Vectors, and Video |  Adobe Stock">
              <a:extLst>
                <a:ext uri="{FF2B5EF4-FFF2-40B4-BE49-F238E27FC236}">
                  <a16:creationId xmlns:a16="http://schemas.microsoft.com/office/drawing/2014/main" id="{D0C060A2-32C4-A106-48EC-8E50958CBF8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8" name="Picture 4" descr="Pipeline Icon Images – Browse 100,131 Stock Photos, Vectors, and Video |  Adobe Stock">
              <a:extLst>
                <a:ext uri="{FF2B5EF4-FFF2-40B4-BE49-F238E27FC236}">
                  <a16:creationId xmlns:a16="http://schemas.microsoft.com/office/drawing/2014/main" id="{D85647FF-FC09-7F38-F99F-D68762EDA9F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9" name="Picture 4" descr="Pipeline Icon Images – Browse 100,131 Stock Photos, Vectors, and Video |  Adobe Stock">
              <a:extLst>
                <a:ext uri="{FF2B5EF4-FFF2-40B4-BE49-F238E27FC236}">
                  <a16:creationId xmlns:a16="http://schemas.microsoft.com/office/drawing/2014/main" id="{B736274C-0719-9C11-A413-6CAF8FED7F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0" name="Picture 4" descr="Pipeline Icon Images – Browse 100,131 Stock Photos, Vectors, and Video |  Adobe Stock">
              <a:extLst>
                <a:ext uri="{FF2B5EF4-FFF2-40B4-BE49-F238E27FC236}">
                  <a16:creationId xmlns:a16="http://schemas.microsoft.com/office/drawing/2014/main" id="{9A41B2E2-F8E4-6A52-2A2C-790651546E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1" name="Picture 4" descr="Pipeline Icon Images – Browse 100,131 Stock Photos, Vectors, and Video |  Adobe Stock">
              <a:extLst>
                <a:ext uri="{FF2B5EF4-FFF2-40B4-BE49-F238E27FC236}">
                  <a16:creationId xmlns:a16="http://schemas.microsoft.com/office/drawing/2014/main" id="{5763C047-5E5C-37D7-6766-CA4C35AF60C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2" name="Picture 4" descr="Pipeline Icon Images – Browse 100,131 Stock Photos, Vectors, and Video |  Adobe Stock">
              <a:extLst>
                <a:ext uri="{FF2B5EF4-FFF2-40B4-BE49-F238E27FC236}">
                  <a16:creationId xmlns:a16="http://schemas.microsoft.com/office/drawing/2014/main" id="{C5BC8F59-4385-8C1F-ACB5-6597CBABEE2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3" name="Picture 4" descr="Pipeline Icon Images – Browse 100,131 Stock Photos, Vectors, and Video |  Adobe Stock">
              <a:extLst>
                <a:ext uri="{FF2B5EF4-FFF2-40B4-BE49-F238E27FC236}">
                  <a16:creationId xmlns:a16="http://schemas.microsoft.com/office/drawing/2014/main" id="{36E5D791-9F5D-6E6A-7992-E4906928639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4" name="Picture 4" descr="Pipeline Icon Images – Browse 100,131 Stock Photos, Vectors, and Video |  Adobe Stock">
              <a:extLst>
                <a:ext uri="{FF2B5EF4-FFF2-40B4-BE49-F238E27FC236}">
                  <a16:creationId xmlns:a16="http://schemas.microsoft.com/office/drawing/2014/main" id="{9CB87F36-EA3E-2E79-2382-55D5A12AEC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5" name="Picture 4" descr="Pipeline Icon Images – Browse 100,131 Stock Photos, Vectors, and Video |  Adobe Stock">
              <a:extLst>
                <a:ext uri="{FF2B5EF4-FFF2-40B4-BE49-F238E27FC236}">
                  <a16:creationId xmlns:a16="http://schemas.microsoft.com/office/drawing/2014/main" id="{8FDA434E-1E96-232B-244C-337CA526E1D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247" name="Group 246">
            <a:extLst>
              <a:ext uri="{FF2B5EF4-FFF2-40B4-BE49-F238E27FC236}">
                <a16:creationId xmlns:a16="http://schemas.microsoft.com/office/drawing/2014/main" id="{D88ABC12-9FC6-6CBC-DB18-8748FB10DDBE}"/>
              </a:ext>
            </a:extLst>
          </p:cNvPr>
          <p:cNvGrpSpPr/>
          <p:nvPr/>
        </p:nvGrpSpPr>
        <p:grpSpPr>
          <a:xfrm>
            <a:off x="9734919" y="4196825"/>
            <a:ext cx="136759" cy="186694"/>
            <a:chOff x="6098836" y="2071903"/>
            <a:chExt cx="350292" cy="478196"/>
          </a:xfrm>
        </p:grpSpPr>
        <p:pic>
          <p:nvPicPr>
            <p:cNvPr id="248" name="Picture 4" descr="Pipeline Icon Images – Browse 100,131 Stock Photos, Vectors, and Video |  Adobe Stock">
              <a:extLst>
                <a:ext uri="{FF2B5EF4-FFF2-40B4-BE49-F238E27FC236}">
                  <a16:creationId xmlns:a16="http://schemas.microsoft.com/office/drawing/2014/main" id="{B7BD3DD5-4230-4F13-EBDF-D04FB0ACC27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49" name="Picture 4" descr="Pipeline Icon Images – Browse 100,131 Stock Photos, Vectors, and Video |  Adobe Stock">
              <a:extLst>
                <a:ext uri="{FF2B5EF4-FFF2-40B4-BE49-F238E27FC236}">
                  <a16:creationId xmlns:a16="http://schemas.microsoft.com/office/drawing/2014/main" id="{C924562F-1749-DA28-81F7-9EA47C038F9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50" name="Group 249">
            <a:extLst>
              <a:ext uri="{FF2B5EF4-FFF2-40B4-BE49-F238E27FC236}">
                <a16:creationId xmlns:a16="http://schemas.microsoft.com/office/drawing/2014/main" id="{9A4307EB-D4D5-5964-1BED-F011FD471DD5}"/>
              </a:ext>
            </a:extLst>
          </p:cNvPr>
          <p:cNvGrpSpPr/>
          <p:nvPr/>
        </p:nvGrpSpPr>
        <p:grpSpPr>
          <a:xfrm flipV="1">
            <a:off x="9736655" y="4128909"/>
            <a:ext cx="135005" cy="184300"/>
            <a:chOff x="6098836" y="2071903"/>
            <a:chExt cx="350292" cy="478196"/>
          </a:xfrm>
        </p:grpSpPr>
        <p:pic>
          <p:nvPicPr>
            <p:cNvPr id="251" name="Picture 4" descr="Pipeline Icon Images – Browse 100,131 Stock Photos, Vectors, and Video |  Adobe Stock">
              <a:extLst>
                <a:ext uri="{FF2B5EF4-FFF2-40B4-BE49-F238E27FC236}">
                  <a16:creationId xmlns:a16="http://schemas.microsoft.com/office/drawing/2014/main" id="{6E2412D6-1F7C-0BDE-B11C-F251BFF1DF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52" name="Picture 4" descr="Pipeline Icon Images – Browse 100,131 Stock Photos, Vectors, and Video |  Adobe Stock">
              <a:extLst>
                <a:ext uri="{FF2B5EF4-FFF2-40B4-BE49-F238E27FC236}">
                  <a16:creationId xmlns:a16="http://schemas.microsoft.com/office/drawing/2014/main" id="{5E33C804-F33A-B613-D47E-0C75ABD92A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53" name="Group 252">
            <a:extLst>
              <a:ext uri="{FF2B5EF4-FFF2-40B4-BE49-F238E27FC236}">
                <a16:creationId xmlns:a16="http://schemas.microsoft.com/office/drawing/2014/main" id="{939C267D-555C-DF02-4278-DB7BB5271911}"/>
              </a:ext>
            </a:extLst>
          </p:cNvPr>
          <p:cNvGrpSpPr/>
          <p:nvPr/>
        </p:nvGrpSpPr>
        <p:grpSpPr>
          <a:xfrm>
            <a:off x="9858728" y="4134945"/>
            <a:ext cx="1334466" cy="58307"/>
            <a:chOff x="6121556" y="1809778"/>
            <a:chExt cx="1334466" cy="58307"/>
          </a:xfrm>
        </p:grpSpPr>
        <p:pic>
          <p:nvPicPr>
            <p:cNvPr id="254" name="Picture 4" descr="Pipeline Icon Images – Browse 100,131 Stock Photos, Vectors, and Video |  Adobe Stock">
              <a:extLst>
                <a:ext uri="{FF2B5EF4-FFF2-40B4-BE49-F238E27FC236}">
                  <a16:creationId xmlns:a16="http://schemas.microsoft.com/office/drawing/2014/main" id="{2657EA8D-8855-1D58-E299-413944FE84D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5" name="Picture 4" descr="Pipeline Icon Images – Browse 100,131 Stock Photos, Vectors, and Video |  Adobe Stock">
              <a:extLst>
                <a:ext uri="{FF2B5EF4-FFF2-40B4-BE49-F238E27FC236}">
                  <a16:creationId xmlns:a16="http://schemas.microsoft.com/office/drawing/2014/main" id="{0F340623-EF02-0BBF-2DEA-C9347F0917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6" name="Picture 4" descr="Pipeline Icon Images – Browse 100,131 Stock Photos, Vectors, and Video |  Adobe Stock">
              <a:extLst>
                <a:ext uri="{FF2B5EF4-FFF2-40B4-BE49-F238E27FC236}">
                  <a16:creationId xmlns:a16="http://schemas.microsoft.com/office/drawing/2014/main" id="{55DA1BED-5D80-4B63-8D14-26AEF81238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7" name="Picture 4" descr="Pipeline Icon Images – Browse 100,131 Stock Photos, Vectors, and Video |  Adobe Stock">
              <a:extLst>
                <a:ext uri="{FF2B5EF4-FFF2-40B4-BE49-F238E27FC236}">
                  <a16:creationId xmlns:a16="http://schemas.microsoft.com/office/drawing/2014/main" id="{B62A4D1F-DED0-DAAA-3BA3-D580593A6B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8" name="Picture 4" descr="Pipeline Icon Images – Browse 100,131 Stock Photos, Vectors, and Video |  Adobe Stock">
              <a:extLst>
                <a:ext uri="{FF2B5EF4-FFF2-40B4-BE49-F238E27FC236}">
                  <a16:creationId xmlns:a16="http://schemas.microsoft.com/office/drawing/2014/main" id="{9E9A4173-8BF4-1E38-B328-77198A67A2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9" name="Picture 4" descr="Pipeline Icon Images – Browse 100,131 Stock Photos, Vectors, and Video |  Adobe Stock">
              <a:extLst>
                <a:ext uri="{FF2B5EF4-FFF2-40B4-BE49-F238E27FC236}">
                  <a16:creationId xmlns:a16="http://schemas.microsoft.com/office/drawing/2014/main" id="{FC611ECB-EA72-1AF6-2D5C-49D17F845B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0" name="Picture 4" descr="Pipeline Icon Images – Browse 100,131 Stock Photos, Vectors, and Video |  Adobe Stock">
              <a:extLst>
                <a:ext uri="{FF2B5EF4-FFF2-40B4-BE49-F238E27FC236}">
                  <a16:creationId xmlns:a16="http://schemas.microsoft.com/office/drawing/2014/main" id="{53D5417F-0DED-0DF5-B60C-9C3DA05EE69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1" name="Picture 4" descr="Pipeline Icon Images – Browse 100,131 Stock Photos, Vectors, and Video |  Adobe Stock">
              <a:extLst>
                <a:ext uri="{FF2B5EF4-FFF2-40B4-BE49-F238E27FC236}">
                  <a16:creationId xmlns:a16="http://schemas.microsoft.com/office/drawing/2014/main" id="{F89DFC97-D93E-C2A2-A275-3E0B87B0636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2" name="Picture 4" descr="Pipeline Icon Images – Browse 100,131 Stock Photos, Vectors, and Video |  Adobe Stock">
              <a:extLst>
                <a:ext uri="{FF2B5EF4-FFF2-40B4-BE49-F238E27FC236}">
                  <a16:creationId xmlns:a16="http://schemas.microsoft.com/office/drawing/2014/main" id="{0DCD4171-D92B-B0DF-D8E7-FEF30EB82A0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3" name="Picture 4" descr="Pipeline Icon Images – Browse 100,131 Stock Photos, Vectors, and Video |  Adobe Stock">
              <a:extLst>
                <a:ext uri="{FF2B5EF4-FFF2-40B4-BE49-F238E27FC236}">
                  <a16:creationId xmlns:a16="http://schemas.microsoft.com/office/drawing/2014/main" id="{99F11F0F-0426-16B9-8F38-DDBB90188AB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pic>
        <p:nvPicPr>
          <p:cNvPr id="275" name="Picture 4" descr="Pipeline Icon Images – Browse 100,131 Stock Photos, Vectors, and Video |  Adobe Stock">
            <a:extLst>
              <a:ext uri="{FF2B5EF4-FFF2-40B4-BE49-F238E27FC236}">
                <a16:creationId xmlns:a16="http://schemas.microsoft.com/office/drawing/2014/main" id="{52C6BA1F-C4F0-6328-AE85-EA4365F30B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3430451" y="3629896"/>
            <a:ext cx="1514519" cy="616646"/>
          </a:xfrm>
          <a:prstGeom prst="rect">
            <a:avLst/>
          </a:prstGeom>
          <a:extLst>
            <a:ext uri="{909E8E84-426E-40DD-AFC4-6F175D3DCCD1}">
              <a14:hiddenFill xmlns:a14="http://schemas.microsoft.com/office/drawing/2010/main">
                <a:solidFill>
                  <a:srgbClr val="FFFFFF"/>
                </a:solidFill>
              </a14:hiddenFill>
            </a:ext>
          </a:extLst>
        </p:spPr>
      </p:pic>
      <p:pic>
        <p:nvPicPr>
          <p:cNvPr id="276" name="Picture 4" descr="Pipeline Icon Images – Browse 100,131 Stock Photos, Vectors, and Video |  Adobe Stock">
            <a:extLst>
              <a:ext uri="{FF2B5EF4-FFF2-40B4-BE49-F238E27FC236}">
                <a16:creationId xmlns:a16="http://schemas.microsoft.com/office/drawing/2014/main" id="{EB30BBAB-BE46-5F13-3DC8-0968DF59A0C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5595044" y="3713690"/>
            <a:ext cx="1123729" cy="457534"/>
          </a:xfrm>
          <a:prstGeom prst="rect">
            <a:avLst/>
          </a:prstGeom>
          <a:extLst>
            <a:ext uri="{909E8E84-426E-40DD-AFC4-6F175D3DCCD1}">
              <a14:hiddenFill xmlns:a14="http://schemas.microsoft.com/office/drawing/2010/main">
                <a:solidFill>
                  <a:srgbClr val="FFFFFF"/>
                </a:solidFill>
              </a14:hiddenFill>
            </a:ext>
          </a:extLst>
        </p:spPr>
      </p:pic>
      <p:pic>
        <p:nvPicPr>
          <p:cNvPr id="277" name="Picture 4" descr="Pipeline Icon Images – Browse 100,131 Stock Photos, Vectors, and Video |  Adobe Stock">
            <a:extLst>
              <a:ext uri="{FF2B5EF4-FFF2-40B4-BE49-F238E27FC236}">
                <a16:creationId xmlns:a16="http://schemas.microsoft.com/office/drawing/2014/main" id="{E8C9BC51-B262-F37C-6507-B71147C1723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632136" y="3713690"/>
            <a:ext cx="1123729" cy="457534"/>
          </a:xfrm>
          <a:prstGeom prst="rect">
            <a:avLst/>
          </a:prstGeom>
          <a:extLst>
            <a:ext uri="{909E8E84-426E-40DD-AFC4-6F175D3DCCD1}">
              <a14:hiddenFill xmlns:a14="http://schemas.microsoft.com/office/drawing/2010/main">
                <a:solidFill>
                  <a:srgbClr val="FFFFFF"/>
                </a:solidFill>
              </a14:hiddenFill>
            </a:ext>
          </a:extLst>
        </p:spPr>
      </p:pic>
      <p:sp>
        <p:nvSpPr>
          <p:cNvPr id="278" name="Rectangle 277">
            <a:extLst>
              <a:ext uri="{FF2B5EF4-FFF2-40B4-BE49-F238E27FC236}">
                <a16:creationId xmlns:a16="http://schemas.microsoft.com/office/drawing/2014/main" id="{629F1EB8-EBB2-C989-8F76-35BD38184682}"/>
              </a:ext>
            </a:extLst>
          </p:cNvPr>
          <p:cNvSpPr/>
          <p:nvPr/>
        </p:nvSpPr>
        <p:spPr>
          <a:xfrm>
            <a:off x="1376949" y="3695673"/>
            <a:ext cx="585069" cy="475552"/>
          </a:xfrm>
          <a:prstGeom prst="rect">
            <a:avLst/>
          </a:prstGeom>
          <a:solidFill>
            <a:srgbClr val="000000"/>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mj-lt"/>
                <a:cs typeface="Poppins" panose="00000500000000000000" pitchFamily="2" charset="0"/>
              </a:rPr>
              <a:t>NTS</a:t>
            </a:r>
          </a:p>
        </p:txBody>
      </p:sp>
      <p:pic>
        <p:nvPicPr>
          <p:cNvPr id="279" name="Picture 4" descr="Pipeline Icon Images – Browse 100,131 Stock Photos, Vectors, and Video |  Adobe Stock">
            <a:extLst>
              <a:ext uri="{FF2B5EF4-FFF2-40B4-BE49-F238E27FC236}">
                <a16:creationId xmlns:a16="http://schemas.microsoft.com/office/drawing/2014/main" id="{C06F7742-6E94-4927-BDA2-2284D846F0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1021106" y="3618122"/>
            <a:ext cx="1514519" cy="61664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34C2AA0-48A2-D0B8-C231-3D8FDA6E3073}"/>
              </a:ext>
            </a:extLst>
          </p:cNvPr>
          <p:cNvSpPr txBox="1"/>
          <p:nvPr/>
        </p:nvSpPr>
        <p:spPr>
          <a:xfrm>
            <a:off x="501796" y="4593771"/>
            <a:ext cx="11310224" cy="2031325"/>
          </a:xfrm>
          <a:prstGeom prst="rect">
            <a:avLst/>
          </a:prstGeom>
          <a:solidFill>
            <a:schemeClr val="accent3">
              <a:lumMod val="20000"/>
              <a:lumOff val="80000"/>
            </a:schemeClr>
          </a:solidFill>
        </p:spPr>
        <p:txBody>
          <a:bodyPr wrap="square" lIns="91440" tIns="45720" rIns="91440" bIns="45720" anchor="t">
            <a:spAutoFit/>
          </a:bodyPr>
          <a:lstStyle/>
          <a:p>
            <a:r>
              <a:rPr lang="en-GB" sz="1400"/>
              <a:t>NESO’s proposed approach for integrating gas and biomethane into Spatial Context provides a strategic, pathway-aligned view to support proactive investment planning and whole system coordination. This approach does not guarantee network capacity for stakeholders and will not replace the requirement for detailed network analysis conducted by GDNs. </a:t>
            </a:r>
          </a:p>
          <a:p>
            <a:endParaRPr lang="en-GB" sz="1400"/>
          </a:p>
          <a:p>
            <a:r>
              <a:rPr lang="en-GB" sz="1400"/>
              <a:t>GDNs will still need to individually assess customer connection enquiries, identifying actual available capacity and reinforcement needs based on bespoke connection details such as: </a:t>
            </a:r>
            <a:endParaRPr lang="en-GB" sz="1400">
              <a:cs typeface="Poppins"/>
            </a:endParaRPr>
          </a:p>
          <a:p>
            <a:pPr marL="285750" indent="-285750">
              <a:buFont typeface="Arial" panose="020B0604020202020204" pitchFamily="34" charset="0"/>
              <a:buChar char="•"/>
            </a:pPr>
            <a:r>
              <a:rPr lang="en-GB" sz="1400"/>
              <a:t>The exact entry connection point</a:t>
            </a:r>
          </a:p>
          <a:p>
            <a:pPr marL="285750" indent="-285750">
              <a:buFont typeface="Arial" panose="020B0604020202020204" pitchFamily="34" charset="0"/>
              <a:buChar char="•"/>
            </a:pPr>
            <a:r>
              <a:rPr lang="en-GB" sz="1400"/>
              <a:t>Distance from existing network assets</a:t>
            </a:r>
          </a:p>
          <a:p>
            <a:pPr marL="285750" indent="-285750">
              <a:buFont typeface="Arial" panose="020B0604020202020204" pitchFamily="34" charset="0"/>
              <a:buChar char="•"/>
            </a:pPr>
            <a:r>
              <a:rPr lang="en-GB" sz="1400"/>
              <a:t>Local technical parameters of the gas distribution network.</a:t>
            </a:r>
          </a:p>
        </p:txBody>
      </p:sp>
      <p:grpSp>
        <p:nvGrpSpPr>
          <p:cNvPr id="6" name="Group 5">
            <a:extLst>
              <a:ext uri="{FF2B5EF4-FFF2-40B4-BE49-F238E27FC236}">
                <a16:creationId xmlns:a16="http://schemas.microsoft.com/office/drawing/2014/main" id="{80653F25-0EE1-B156-6639-D6DF95CBE130}"/>
              </a:ext>
            </a:extLst>
          </p:cNvPr>
          <p:cNvGrpSpPr/>
          <p:nvPr/>
        </p:nvGrpSpPr>
        <p:grpSpPr>
          <a:xfrm>
            <a:off x="9870138" y="4318443"/>
            <a:ext cx="1334466" cy="58307"/>
            <a:chOff x="6121556" y="1809778"/>
            <a:chExt cx="1334466" cy="58307"/>
          </a:xfrm>
        </p:grpSpPr>
        <p:pic>
          <p:nvPicPr>
            <p:cNvPr id="8" name="Picture 4" descr="Pipeline Icon Images – Browse 100,131 Stock Photos, Vectors, and Video |  Adobe Stock">
              <a:extLst>
                <a:ext uri="{FF2B5EF4-FFF2-40B4-BE49-F238E27FC236}">
                  <a16:creationId xmlns:a16="http://schemas.microsoft.com/office/drawing/2014/main" id="{E9346A01-DA7A-DB3E-B58D-CF773F1B31C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1" name="Picture 4" descr="Pipeline Icon Images – Browse 100,131 Stock Photos, Vectors, and Video |  Adobe Stock">
              <a:extLst>
                <a:ext uri="{FF2B5EF4-FFF2-40B4-BE49-F238E27FC236}">
                  <a16:creationId xmlns:a16="http://schemas.microsoft.com/office/drawing/2014/main" id="{6947AC41-65B4-8C6B-0AF7-73C82AE8105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3" name="Picture 4" descr="Pipeline Icon Images – Browse 100,131 Stock Photos, Vectors, and Video |  Adobe Stock">
              <a:extLst>
                <a:ext uri="{FF2B5EF4-FFF2-40B4-BE49-F238E27FC236}">
                  <a16:creationId xmlns:a16="http://schemas.microsoft.com/office/drawing/2014/main" id="{5E354C72-6635-A02E-67C5-211E3FEBC6E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5" name="Picture 4" descr="Pipeline Icon Images – Browse 100,131 Stock Photos, Vectors, and Video |  Adobe Stock">
              <a:extLst>
                <a:ext uri="{FF2B5EF4-FFF2-40B4-BE49-F238E27FC236}">
                  <a16:creationId xmlns:a16="http://schemas.microsoft.com/office/drawing/2014/main" id="{50A9653B-DA6C-1FE5-F27F-1A8FE5163D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7" name="Picture 4" descr="Pipeline Icon Images – Browse 100,131 Stock Photos, Vectors, and Video |  Adobe Stock">
              <a:extLst>
                <a:ext uri="{FF2B5EF4-FFF2-40B4-BE49-F238E27FC236}">
                  <a16:creationId xmlns:a16="http://schemas.microsoft.com/office/drawing/2014/main" id="{175AF18B-A66F-2125-4ED7-0136FBA093B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8" name="Picture 4" descr="Pipeline Icon Images – Browse 100,131 Stock Photos, Vectors, and Video |  Adobe Stock">
              <a:extLst>
                <a:ext uri="{FF2B5EF4-FFF2-40B4-BE49-F238E27FC236}">
                  <a16:creationId xmlns:a16="http://schemas.microsoft.com/office/drawing/2014/main" id="{93CC2CEF-EDD1-8626-73DF-73AFDF66A82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19" name="Picture 4" descr="Pipeline Icon Images – Browse 100,131 Stock Photos, Vectors, and Video |  Adobe Stock">
              <a:extLst>
                <a:ext uri="{FF2B5EF4-FFF2-40B4-BE49-F238E27FC236}">
                  <a16:creationId xmlns:a16="http://schemas.microsoft.com/office/drawing/2014/main" id="{8606E4A2-E6CD-E36B-D099-876AE7643E7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 name="Picture 4" descr="Pipeline Icon Images – Browse 100,131 Stock Photos, Vectors, and Video |  Adobe Stock">
              <a:extLst>
                <a:ext uri="{FF2B5EF4-FFF2-40B4-BE49-F238E27FC236}">
                  <a16:creationId xmlns:a16="http://schemas.microsoft.com/office/drawing/2014/main" id="{A7AF7C1E-AE61-A28A-7C14-FA59899A285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 name="Picture 4" descr="Pipeline Icon Images – Browse 100,131 Stock Photos, Vectors, and Video |  Adobe Stock">
              <a:extLst>
                <a:ext uri="{FF2B5EF4-FFF2-40B4-BE49-F238E27FC236}">
                  <a16:creationId xmlns:a16="http://schemas.microsoft.com/office/drawing/2014/main" id="{DC975B0A-7C7A-E3B5-6D2D-A6701E6D114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 name="Picture 4" descr="Pipeline Icon Images – Browse 100,131 Stock Photos, Vectors, and Video |  Adobe Stock">
              <a:extLst>
                <a:ext uri="{FF2B5EF4-FFF2-40B4-BE49-F238E27FC236}">
                  <a16:creationId xmlns:a16="http://schemas.microsoft.com/office/drawing/2014/main" id="{48E98180-B2FF-2CCB-3529-E38C5463EB4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sp>
        <p:nvSpPr>
          <p:cNvPr id="26" name="TextBox 25">
            <a:extLst>
              <a:ext uri="{FF2B5EF4-FFF2-40B4-BE49-F238E27FC236}">
                <a16:creationId xmlns:a16="http://schemas.microsoft.com/office/drawing/2014/main" id="{98031CF8-4729-43B3-4C7A-E15302E69052}"/>
              </a:ext>
            </a:extLst>
          </p:cNvPr>
          <p:cNvSpPr txBox="1"/>
          <p:nvPr/>
        </p:nvSpPr>
        <p:spPr>
          <a:xfrm>
            <a:off x="3661649" y="3091446"/>
            <a:ext cx="1052176" cy="553998"/>
          </a:xfrm>
          <a:prstGeom prst="rect">
            <a:avLst/>
          </a:prstGeom>
          <a:solidFill>
            <a:srgbClr val="FFC000"/>
          </a:solidFill>
        </p:spPr>
        <p:txBody>
          <a:bodyPr wrap="square" rtlCol="0">
            <a:spAutoFit/>
          </a:bodyPr>
          <a:lstStyle/>
          <a:p>
            <a:pPr algn="ctr"/>
            <a:r>
              <a:rPr lang="en-US" sz="1000" b="1">
                <a:solidFill>
                  <a:schemeClr val="bg1"/>
                </a:solidFill>
                <a:latin typeface="+mj-lt"/>
                <a:cs typeface="Poppins" panose="00000500000000000000" pitchFamily="2" charset="0"/>
              </a:rPr>
              <a:t>High Pressure</a:t>
            </a:r>
          </a:p>
          <a:p>
            <a:pPr algn="ctr"/>
            <a:r>
              <a:rPr lang="en-US" sz="1000">
                <a:solidFill>
                  <a:schemeClr val="bg1"/>
                </a:solidFill>
                <a:latin typeface="+mj-lt"/>
                <a:cs typeface="Poppins" panose="00000500000000000000" pitchFamily="2" charset="0"/>
              </a:rPr>
              <a:t>38 bar </a:t>
            </a:r>
            <a:r>
              <a:rPr lang="en-US" sz="1000">
                <a:solidFill>
                  <a:schemeClr val="bg1"/>
                </a:solidFill>
                <a:latin typeface="+mj-lt"/>
                <a:cs typeface="Poppins" panose="00000500000000000000" pitchFamily="2" charset="0"/>
                <a:sym typeface="Wingdings" panose="05000000000000000000" pitchFamily="2" charset="2"/>
              </a:rPr>
              <a:t>&gt; 7 bar</a:t>
            </a:r>
            <a:endParaRPr lang="en-GB" sz="1000">
              <a:solidFill>
                <a:schemeClr val="bg1"/>
              </a:solidFill>
              <a:latin typeface="+mj-lt"/>
              <a:cs typeface="Poppins" panose="00000500000000000000" pitchFamily="2" charset="0"/>
            </a:endParaRPr>
          </a:p>
        </p:txBody>
      </p:sp>
      <p:sp>
        <p:nvSpPr>
          <p:cNvPr id="27" name="TextBox 26">
            <a:extLst>
              <a:ext uri="{FF2B5EF4-FFF2-40B4-BE49-F238E27FC236}">
                <a16:creationId xmlns:a16="http://schemas.microsoft.com/office/drawing/2014/main" id="{AB5E7573-8CBC-8B3A-2DF1-CE836B5ECECB}"/>
              </a:ext>
            </a:extLst>
          </p:cNvPr>
          <p:cNvSpPr txBox="1"/>
          <p:nvPr/>
        </p:nvSpPr>
        <p:spPr>
          <a:xfrm>
            <a:off x="6098545" y="3098570"/>
            <a:ext cx="1119616" cy="553998"/>
          </a:xfrm>
          <a:prstGeom prst="rect">
            <a:avLst/>
          </a:prstGeom>
          <a:solidFill>
            <a:srgbClr val="92D050"/>
          </a:solidFill>
        </p:spPr>
        <p:txBody>
          <a:bodyPr wrap="square" rtlCol="0">
            <a:spAutoFit/>
          </a:bodyPr>
          <a:lstStyle/>
          <a:p>
            <a:pPr algn="ctr"/>
            <a:r>
              <a:rPr lang="en-US" sz="1000" b="1">
                <a:solidFill>
                  <a:schemeClr val="bg1"/>
                </a:solidFill>
                <a:latin typeface="+mj-lt"/>
                <a:cs typeface="Poppins" panose="00000500000000000000" pitchFamily="2" charset="0"/>
              </a:rPr>
              <a:t>Intermediate Pressure</a:t>
            </a:r>
          </a:p>
          <a:p>
            <a:pPr algn="ctr"/>
            <a:r>
              <a:rPr lang="en-US" sz="1000">
                <a:solidFill>
                  <a:schemeClr val="bg1"/>
                </a:solidFill>
                <a:latin typeface="+mj-lt"/>
                <a:cs typeface="Poppins" panose="00000500000000000000" pitchFamily="2" charset="0"/>
              </a:rPr>
              <a:t>7 bar </a:t>
            </a:r>
            <a:r>
              <a:rPr lang="en-US" sz="1000">
                <a:solidFill>
                  <a:schemeClr val="bg1"/>
                </a:solidFill>
                <a:latin typeface="+mj-lt"/>
                <a:cs typeface="Poppins" panose="00000500000000000000" pitchFamily="2" charset="0"/>
                <a:sym typeface="Wingdings" panose="05000000000000000000" pitchFamily="2" charset="2"/>
              </a:rPr>
              <a:t>&gt; 2 bar</a:t>
            </a:r>
            <a:endParaRPr lang="en-GB" sz="1000">
              <a:solidFill>
                <a:schemeClr val="bg1"/>
              </a:solidFill>
              <a:latin typeface="+mj-lt"/>
              <a:cs typeface="Poppins" panose="00000500000000000000" pitchFamily="2" charset="0"/>
            </a:endParaRPr>
          </a:p>
        </p:txBody>
      </p:sp>
      <p:sp>
        <p:nvSpPr>
          <p:cNvPr id="29" name="TextBox 28">
            <a:extLst>
              <a:ext uri="{FF2B5EF4-FFF2-40B4-BE49-F238E27FC236}">
                <a16:creationId xmlns:a16="http://schemas.microsoft.com/office/drawing/2014/main" id="{6157C395-9C49-D21B-1141-241C59DB83EE}"/>
              </a:ext>
            </a:extLst>
          </p:cNvPr>
          <p:cNvSpPr txBox="1"/>
          <p:nvPr/>
        </p:nvSpPr>
        <p:spPr>
          <a:xfrm>
            <a:off x="10071096" y="3091446"/>
            <a:ext cx="869292" cy="553998"/>
          </a:xfrm>
          <a:prstGeom prst="rect">
            <a:avLst/>
          </a:prstGeom>
          <a:solidFill>
            <a:srgbClr val="FF0000"/>
          </a:solidFill>
        </p:spPr>
        <p:txBody>
          <a:bodyPr wrap="square" rtlCol="0">
            <a:spAutoFit/>
          </a:bodyPr>
          <a:lstStyle/>
          <a:p>
            <a:pPr algn="ctr"/>
            <a:r>
              <a:rPr lang="en-US" sz="1000" b="1">
                <a:solidFill>
                  <a:schemeClr val="bg1"/>
                </a:solidFill>
                <a:latin typeface="+mj-lt"/>
                <a:cs typeface="Poppins" panose="00000500000000000000" pitchFamily="2" charset="0"/>
              </a:rPr>
              <a:t>Low Pressure</a:t>
            </a:r>
          </a:p>
          <a:p>
            <a:pPr algn="ctr"/>
            <a:r>
              <a:rPr lang="en-US" sz="1000">
                <a:solidFill>
                  <a:schemeClr val="bg1"/>
                </a:solidFill>
                <a:latin typeface="+mj-lt"/>
                <a:cs typeface="Poppins" panose="00000500000000000000" pitchFamily="2" charset="0"/>
              </a:rPr>
              <a:t>75 mbar &gt;</a:t>
            </a:r>
            <a:endParaRPr lang="en-GB" sz="1000">
              <a:solidFill>
                <a:schemeClr val="bg1"/>
              </a:solidFill>
              <a:latin typeface="+mj-lt"/>
              <a:cs typeface="Poppins" panose="00000500000000000000" pitchFamily="2" charset="0"/>
            </a:endParaRPr>
          </a:p>
        </p:txBody>
      </p:sp>
      <p:sp>
        <p:nvSpPr>
          <p:cNvPr id="334" name="Rectangle 333">
            <a:extLst>
              <a:ext uri="{FF2B5EF4-FFF2-40B4-BE49-F238E27FC236}">
                <a16:creationId xmlns:a16="http://schemas.microsoft.com/office/drawing/2014/main" id="{F939BF4B-8FD4-AEDE-7A1D-18EE047C0BB2}"/>
              </a:ext>
            </a:extLst>
          </p:cNvPr>
          <p:cNvSpPr/>
          <p:nvPr/>
        </p:nvSpPr>
        <p:spPr>
          <a:xfrm>
            <a:off x="7781178" y="3713690"/>
            <a:ext cx="1774897" cy="728980"/>
          </a:xfrm>
          <a:prstGeom prst="rect">
            <a:avLst/>
          </a:prstGeom>
          <a:noFill/>
          <a:ln w="3810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GB"/>
          </a:p>
        </p:txBody>
      </p:sp>
      <p:sp>
        <p:nvSpPr>
          <p:cNvPr id="31" name="TextBox 30">
            <a:extLst>
              <a:ext uri="{FF2B5EF4-FFF2-40B4-BE49-F238E27FC236}">
                <a16:creationId xmlns:a16="http://schemas.microsoft.com/office/drawing/2014/main" id="{1DD1EF7E-A608-96FF-C3E5-DB8150F328C5}"/>
              </a:ext>
            </a:extLst>
          </p:cNvPr>
          <p:cNvSpPr txBox="1"/>
          <p:nvPr/>
        </p:nvSpPr>
        <p:spPr>
          <a:xfrm>
            <a:off x="8351321" y="3078433"/>
            <a:ext cx="1175506" cy="553998"/>
          </a:xfrm>
          <a:prstGeom prst="rect">
            <a:avLst/>
          </a:prstGeom>
          <a:solidFill>
            <a:srgbClr val="00B0F0"/>
          </a:solidFill>
        </p:spPr>
        <p:txBody>
          <a:bodyPr wrap="square" rtlCol="0">
            <a:spAutoFit/>
          </a:bodyPr>
          <a:lstStyle/>
          <a:p>
            <a:pPr algn="ctr"/>
            <a:r>
              <a:rPr lang="en-US" sz="1000" b="1">
                <a:solidFill>
                  <a:schemeClr val="bg1"/>
                </a:solidFill>
                <a:latin typeface="+mj-lt"/>
                <a:cs typeface="Poppins" panose="00000500000000000000" pitchFamily="2" charset="0"/>
              </a:rPr>
              <a:t>Medium Pressure</a:t>
            </a:r>
          </a:p>
          <a:p>
            <a:pPr algn="ctr"/>
            <a:r>
              <a:rPr lang="en-US" sz="1000">
                <a:solidFill>
                  <a:schemeClr val="bg1"/>
                </a:solidFill>
                <a:latin typeface="+mj-lt"/>
                <a:cs typeface="Poppins" panose="00000500000000000000" pitchFamily="2" charset="0"/>
              </a:rPr>
              <a:t>2 bar </a:t>
            </a:r>
            <a:r>
              <a:rPr lang="en-US" sz="1000">
                <a:solidFill>
                  <a:schemeClr val="bg1"/>
                </a:solidFill>
                <a:latin typeface="+mj-lt"/>
                <a:cs typeface="Poppins" panose="00000500000000000000" pitchFamily="2" charset="0"/>
                <a:sym typeface="Wingdings" panose="05000000000000000000" pitchFamily="2" charset="2"/>
              </a:rPr>
              <a:t>&gt; 75 mbar</a:t>
            </a:r>
            <a:endParaRPr lang="en-GB" sz="1000">
              <a:solidFill>
                <a:schemeClr val="bg1"/>
              </a:solidFill>
              <a:latin typeface="+mj-lt"/>
              <a:cs typeface="Poppins" panose="00000500000000000000" pitchFamily="2" charset="0"/>
            </a:endParaRPr>
          </a:p>
        </p:txBody>
      </p:sp>
      <p:sp>
        <p:nvSpPr>
          <p:cNvPr id="307" name="TextBox 306">
            <a:extLst>
              <a:ext uri="{FF2B5EF4-FFF2-40B4-BE49-F238E27FC236}">
                <a16:creationId xmlns:a16="http://schemas.microsoft.com/office/drawing/2014/main" id="{CD7A51F6-5D0F-DF83-3250-0FA1DB881D4D}"/>
              </a:ext>
            </a:extLst>
          </p:cNvPr>
          <p:cNvSpPr txBox="1"/>
          <p:nvPr/>
        </p:nvSpPr>
        <p:spPr>
          <a:xfrm>
            <a:off x="1128938" y="3149838"/>
            <a:ext cx="1383365" cy="400110"/>
          </a:xfrm>
          <a:prstGeom prst="rect">
            <a:avLst/>
          </a:prstGeom>
          <a:solidFill>
            <a:schemeClr val="accent3"/>
          </a:solidFill>
        </p:spPr>
        <p:txBody>
          <a:bodyPr wrap="square" rtlCol="0">
            <a:spAutoFit/>
          </a:bodyPr>
          <a:lstStyle/>
          <a:p>
            <a:pPr algn="ctr"/>
            <a:r>
              <a:rPr lang="en-US" sz="1000" b="1">
                <a:solidFill>
                  <a:schemeClr val="bg1"/>
                </a:solidFill>
                <a:latin typeface="+mj-lt"/>
                <a:cs typeface="Poppins" panose="00000500000000000000" pitchFamily="2" charset="0"/>
              </a:rPr>
              <a:t>NTS</a:t>
            </a:r>
          </a:p>
          <a:p>
            <a:pPr algn="ctr"/>
            <a:r>
              <a:rPr lang="en-US" sz="1000">
                <a:solidFill>
                  <a:schemeClr val="bg1"/>
                </a:solidFill>
                <a:latin typeface="+mj-lt"/>
                <a:cs typeface="Poppins" panose="00000500000000000000" pitchFamily="2" charset="0"/>
              </a:rPr>
              <a:t>85 bar </a:t>
            </a:r>
            <a:r>
              <a:rPr lang="en-US" sz="1000">
                <a:solidFill>
                  <a:schemeClr val="bg1"/>
                </a:solidFill>
                <a:latin typeface="+mj-lt"/>
                <a:cs typeface="Poppins" panose="00000500000000000000" pitchFamily="2" charset="0"/>
                <a:sym typeface="Wingdings" panose="05000000000000000000" pitchFamily="2" charset="2"/>
              </a:rPr>
              <a:t> 38 bar</a:t>
            </a:r>
            <a:endParaRPr lang="en-GB" sz="1000">
              <a:solidFill>
                <a:schemeClr val="bg1"/>
              </a:solidFill>
              <a:latin typeface="+mj-lt"/>
              <a:cs typeface="Poppins" panose="00000500000000000000" pitchFamily="2" charset="0"/>
            </a:endParaRPr>
          </a:p>
        </p:txBody>
      </p:sp>
      <p:sp>
        <p:nvSpPr>
          <p:cNvPr id="2" name="TextBox 1">
            <a:extLst>
              <a:ext uri="{FF2B5EF4-FFF2-40B4-BE49-F238E27FC236}">
                <a16:creationId xmlns:a16="http://schemas.microsoft.com/office/drawing/2014/main" id="{626CE250-A4FC-D531-A4D8-FB2476F0A12F}"/>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430398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59453-5FBC-33FF-358A-4EF9890967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CA684E-75B8-0D8C-4983-52AA5B64DBA5}"/>
              </a:ext>
            </a:extLst>
          </p:cNvPr>
          <p:cNvSpPr>
            <a:spLocks noGrp="1"/>
          </p:cNvSpPr>
          <p:nvPr>
            <p:ph type="ctrTitle"/>
          </p:nvPr>
        </p:nvSpPr>
        <p:spPr>
          <a:xfrm>
            <a:off x="532944" y="1788983"/>
            <a:ext cx="7295004" cy="2387600"/>
          </a:xfrm>
        </p:spPr>
        <p:txBody>
          <a:bodyPr>
            <a:normAutofit/>
          </a:bodyPr>
          <a:lstStyle/>
          <a:p>
            <a:r>
              <a:rPr lang="en-GB" sz="4400" b="1">
                <a:solidFill>
                  <a:schemeClr val="bg1"/>
                </a:solidFill>
                <a:latin typeface="+mn-lt"/>
                <a:cs typeface="Poppins"/>
              </a:rPr>
              <a:t>Plenary Q&amp;A</a:t>
            </a:r>
            <a:br>
              <a:rPr lang="en-GB" sz="4400" b="1">
                <a:solidFill>
                  <a:schemeClr val="bg1"/>
                </a:solidFill>
              </a:rPr>
            </a:br>
            <a:endParaRPr lang="en-GB"/>
          </a:p>
        </p:txBody>
      </p:sp>
      <p:sp>
        <p:nvSpPr>
          <p:cNvPr id="3" name="Subtitle 2">
            <a:extLst>
              <a:ext uri="{FF2B5EF4-FFF2-40B4-BE49-F238E27FC236}">
                <a16:creationId xmlns:a16="http://schemas.microsoft.com/office/drawing/2014/main" id="{0FC4318A-6F53-EC37-F234-4C11DC0AEF7C}"/>
              </a:ext>
            </a:extLst>
          </p:cNvPr>
          <p:cNvSpPr>
            <a:spLocks noGrp="1"/>
          </p:cNvSpPr>
          <p:nvPr>
            <p:ph type="subTitle" idx="1"/>
          </p:nvPr>
        </p:nvSpPr>
        <p:spPr>
          <a:xfrm>
            <a:off x="532943" y="4213654"/>
            <a:ext cx="6172657" cy="1044146"/>
          </a:xfrm>
        </p:spPr>
        <p:txBody>
          <a:bodyPr vert="horz" lIns="91440" tIns="45720" rIns="91440" bIns="45720" rtlCol="0" anchor="t">
            <a:normAutofit fontScale="92500"/>
          </a:bodyPr>
          <a:lstStyle/>
          <a:p>
            <a:r>
              <a:rPr lang="en-GB"/>
              <a:t>10 mins</a:t>
            </a:r>
          </a:p>
          <a:p>
            <a:r>
              <a:rPr lang="en-GB">
                <a:cs typeface="Poppins"/>
              </a:rPr>
              <a:t>Jonny Sadler, Nick Smith, Faith Natukunda</a:t>
            </a:r>
            <a:endParaRPr lang="en-GB">
              <a:solidFill>
                <a:srgbClr val="000000"/>
              </a:solidFill>
              <a:cs typeface="Poppins"/>
            </a:endParaRPr>
          </a:p>
          <a:p>
            <a:endParaRPr lang="en-GB">
              <a:cs typeface="Poppins"/>
            </a:endParaRPr>
          </a:p>
        </p:txBody>
      </p:sp>
      <p:sp>
        <p:nvSpPr>
          <p:cNvPr id="4" name="TextBox 3">
            <a:extLst>
              <a:ext uri="{FF2B5EF4-FFF2-40B4-BE49-F238E27FC236}">
                <a16:creationId xmlns:a16="http://schemas.microsoft.com/office/drawing/2014/main" id="{ADA52D55-9B08-F533-6334-F28398491A9C}"/>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1856850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C4335-E9EE-9F48-3CD0-225609FD74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821FA3-B2C6-373F-7D95-EB4C59E02B2B}"/>
              </a:ext>
            </a:extLst>
          </p:cNvPr>
          <p:cNvSpPr>
            <a:spLocks noGrp="1"/>
          </p:cNvSpPr>
          <p:nvPr>
            <p:ph type="ctrTitle"/>
          </p:nvPr>
        </p:nvSpPr>
        <p:spPr>
          <a:xfrm>
            <a:off x="532944" y="1788983"/>
            <a:ext cx="7295004" cy="2387600"/>
          </a:xfrm>
        </p:spPr>
        <p:txBody>
          <a:bodyPr>
            <a:normAutofit/>
          </a:bodyPr>
          <a:lstStyle/>
          <a:p>
            <a:r>
              <a:rPr lang="en-GB">
                <a:latin typeface="+mn-lt"/>
                <a:cs typeface="Poppins"/>
              </a:rPr>
              <a:t>Breakout Workshops</a:t>
            </a:r>
            <a:br>
              <a:rPr lang="en-GB" sz="4400" b="1">
                <a:solidFill>
                  <a:schemeClr val="bg1"/>
                </a:solidFill>
              </a:rPr>
            </a:br>
            <a:endParaRPr lang="en-GB"/>
          </a:p>
        </p:txBody>
      </p:sp>
      <p:sp>
        <p:nvSpPr>
          <p:cNvPr id="3" name="Subtitle 2">
            <a:extLst>
              <a:ext uri="{FF2B5EF4-FFF2-40B4-BE49-F238E27FC236}">
                <a16:creationId xmlns:a16="http://schemas.microsoft.com/office/drawing/2014/main" id="{AD985BD4-BAEB-1771-4556-B35B8CCA8BC1}"/>
              </a:ext>
            </a:extLst>
          </p:cNvPr>
          <p:cNvSpPr>
            <a:spLocks noGrp="1"/>
          </p:cNvSpPr>
          <p:nvPr>
            <p:ph type="subTitle" idx="1"/>
          </p:nvPr>
        </p:nvSpPr>
        <p:spPr/>
        <p:txBody>
          <a:bodyPr vert="horz" lIns="91440" tIns="45720" rIns="91440" bIns="45720" rtlCol="0" anchor="t">
            <a:noAutofit/>
          </a:bodyPr>
          <a:lstStyle/>
          <a:p>
            <a:r>
              <a:rPr lang="en-GB" sz="2200"/>
              <a:t>35 mins</a:t>
            </a:r>
          </a:p>
          <a:p>
            <a:r>
              <a:rPr lang="en-GB" sz="2200">
                <a:cs typeface="Poppins"/>
              </a:rPr>
              <a:t>Jonny Sadler</a:t>
            </a:r>
          </a:p>
        </p:txBody>
      </p:sp>
      <p:sp>
        <p:nvSpPr>
          <p:cNvPr id="4" name="TextBox 3">
            <a:extLst>
              <a:ext uri="{FF2B5EF4-FFF2-40B4-BE49-F238E27FC236}">
                <a16:creationId xmlns:a16="http://schemas.microsoft.com/office/drawing/2014/main" id="{C8CD647E-559F-A521-60DD-3F977EA66C13}"/>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8009433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42089-37C4-DBB9-798C-2CE325B98B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5D097-A703-7092-0113-D0C04A456C89}"/>
              </a:ext>
            </a:extLst>
          </p:cNvPr>
          <p:cNvSpPr>
            <a:spLocks noGrp="1"/>
          </p:cNvSpPr>
          <p:nvPr>
            <p:ph type="title"/>
          </p:nvPr>
        </p:nvSpPr>
        <p:spPr/>
        <p:txBody>
          <a:bodyPr/>
          <a:lstStyle/>
          <a:p>
            <a:r>
              <a:rPr lang="en-GB"/>
              <a:t>Breakout Room Structure</a:t>
            </a:r>
          </a:p>
        </p:txBody>
      </p:sp>
      <p:sp>
        <p:nvSpPr>
          <p:cNvPr id="3" name="Content Placeholder 2">
            <a:extLst>
              <a:ext uri="{FF2B5EF4-FFF2-40B4-BE49-F238E27FC236}">
                <a16:creationId xmlns:a16="http://schemas.microsoft.com/office/drawing/2014/main" id="{163CEB2D-92D5-B275-4D32-EDABFCA919AD}"/>
              </a:ext>
            </a:extLst>
          </p:cNvPr>
          <p:cNvSpPr>
            <a:spLocks noGrp="1"/>
          </p:cNvSpPr>
          <p:nvPr>
            <p:ph idx="1"/>
          </p:nvPr>
        </p:nvSpPr>
        <p:spPr>
          <a:xfrm>
            <a:off x="637273" y="1825625"/>
            <a:ext cx="5645540" cy="4351338"/>
          </a:xfrm>
        </p:spPr>
        <p:txBody>
          <a:bodyPr vert="horz" lIns="91440" tIns="45720" rIns="91440" bIns="45720" rtlCol="0" anchor="t">
            <a:noAutofit/>
          </a:bodyPr>
          <a:lstStyle/>
          <a:p>
            <a:pPr marL="0" indent="0">
              <a:spcBef>
                <a:spcPts val="1800"/>
              </a:spcBef>
              <a:buNone/>
            </a:pPr>
            <a:r>
              <a:rPr lang="en-GB" sz="1800" b="1"/>
              <a:t>We’ll cover three questions in 35 mins:</a:t>
            </a:r>
            <a:endParaRPr lang="en-GB" sz="1800" b="1">
              <a:cs typeface="Poppins"/>
            </a:endParaRPr>
          </a:p>
          <a:p>
            <a:pPr>
              <a:spcBef>
                <a:spcPts val="1800"/>
              </a:spcBef>
            </a:pPr>
            <a:r>
              <a:rPr lang="en-GB" sz="1800"/>
              <a:t>Do you agree with NESO’s proposal for visualising peak demand to identify areas of system need within Spatial Context? </a:t>
            </a:r>
          </a:p>
          <a:p>
            <a:pPr>
              <a:spcBef>
                <a:spcPts val="1800"/>
              </a:spcBef>
            </a:pPr>
            <a:r>
              <a:rPr lang="en-GB" sz="1800"/>
              <a:t>Do you agree with NESO’s proposal for visualising biomethane supply to identify areas of system need within Spatial Context? </a:t>
            </a:r>
          </a:p>
          <a:p>
            <a:pPr>
              <a:spcBef>
                <a:spcPts val="1800"/>
              </a:spcBef>
            </a:pPr>
            <a:r>
              <a:rPr lang="en-GB" sz="1800"/>
              <a:t>Do you agree with NESO’s proposal to visualise the gas distribution network asset view at Medium Pressure Entry Assets for biomethane supply and gas demand? </a:t>
            </a:r>
            <a:endParaRPr lang="en-GB" sz="1600" b="1">
              <a:cs typeface="Poppins"/>
            </a:endParaRPr>
          </a:p>
        </p:txBody>
      </p:sp>
      <p:sp>
        <p:nvSpPr>
          <p:cNvPr id="6" name="Rectangle: Rounded Corners 5">
            <a:extLst>
              <a:ext uri="{FF2B5EF4-FFF2-40B4-BE49-F238E27FC236}">
                <a16:creationId xmlns:a16="http://schemas.microsoft.com/office/drawing/2014/main" id="{B674371C-3196-9741-E3BC-3C01A87AFC8A}"/>
              </a:ext>
            </a:extLst>
          </p:cNvPr>
          <p:cNvSpPr/>
          <p:nvPr/>
        </p:nvSpPr>
        <p:spPr>
          <a:xfrm>
            <a:off x="6477503" y="1828400"/>
            <a:ext cx="5535561" cy="239953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GB"/>
          </a:p>
          <a:p>
            <a:r>
              <a:rPr lang="en-GB"/>
              <a:t>Housekeeping:</a:t>
            </a:r>
          </a:p>
          <a:p>
            <a:endParaRPr lang="en-GB"/>
          </a:p>
          <a:p>
            <a:pPr marL="285750" indent="-285750">
              <a:buFont typeface="Arial" panose="020B0604020202020204" pitchFamily="34" charset="0"/>
              <a:buChar char="•"/>
            </a:pPr>
            <a:r>
              <a:rPr lang="en-GB"/>
              <a:t>Mics on, and cameras too if you want</a:t>
            </a:r>
          </a:p>
          <a:p>
            <a:pPr marL="285750" indent="-285750">
              <a:buFont typeface="Arial" panose="020B0604020202020204" pitchFamily="34" charset="0"/>
              <a:buChar char="•"/>
            </a:pPr>
            <a:r>
              <a:rPr lang="en-GB"/>
              <a:t>Transcription will be on, but notes will not be published </a:t>
            </a:r>
          </a:p>
          <a:p>
            <a:endParaRPr lang="en-GB"/>
          </a:p>
          <a:p>
            <a:pPr marL="285750" indent="-285750">
              <a:buFont typeface="Arial" panose="020B0604020202020204" pitchFamily="34" charset="0"/>
              <a:buChar char="•"/>
            </a:pPr>
            <a:endParaRPr lang="en-GB"/>
          </a:p>
        </p:txBody>
      </p:sp>
      <p:sp>
        <p:nvSpPr>
          <p:cNvPr id="5" name="TextBox 4">
            <a:extLst>
              <a:ext uri="{FF2B5EF4-FFF2-40B4-BE49-F238E27FC236}">
                <a16:creationId xmlns:a16="http://schemas.microsoft.com/office/drawing/2014/main" id="{6574D851-5302-9A3A-5547-05F035844EA7}"/>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942620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F79B7-8C4A-FBB4-43B7-F083CE536BA5}"/>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2046020C-D350-C7E2-341F-99E652DDAF34}"/>
              </a:ext>
            </a:extLst>
          </p:cNvPr>
          <p:cNvSpPr>
            <a:spLocks noGrp="1"/>
          </p:cNvSpPr>
          <p:nvPr>
            <p:ph type="title"/>
          </p:nvPr>
        </p:nvSpPr>
        <p:spPr/>
        <p:txBody>
          <a:bodyPr>
            <a:normAutofit/>
          </a:bodyPr>
          <a:lstStyle/>
          <a:p>
            <a:r>
              <a:rPr lang="pt-BR">
                <a:cs typeface="Poppins"/>
              </a:rPr>
              <a:t>Breakout Room Guide</a:t>
            </a:r>
            <a:endParaRPr lang="en-GB">
              <a:cs typeface="Poppins"/>
            </a:endParaRPr>
          </a:p>
        </p:txBody>
      </p:sp>
      <p:sp>
        <p:nvSpPr>
          <p:cNvPr id="3" name="Content Placeholder 2">
            <a:extLst>
              <a:ext uri="{FF2B5EF4-FFF2-40B4-BE49-F238E27FC236}">
                <a16:creationId xmlns:a16="http://schemas.microsoft.com/office/drawing/2014/main" id="{005D0642-E7BF-CD68-4368-CE106E2B8FC1}"/>
              </a:ext>
            </a:extLst>
          </p:cNvPr>
          <p:cNvSpPr>
            <a:spLocks noGrp="1"/>
          </p:cNvSpPr>
          <p:nvPr>
            <p:ph idx="1"/>
          </p:nvPr>
        </p:nvSpPr>
        <p:spPr>
          <a:xfrm>
            <a:off x="315948" y="1559384"/>
            <a:ext cx="11553021" cy="4351338"/>
          </a:xfrm>
          <a:solidFill>
            <a:schemeClr val="bg1"/>
          </a:solidFill>
        </p:spPr>
        <p:txBody>
          <a:bodyPr vert="horz" lIns="91440" tIns="45720" rIns="91440" bIns="45720" rtlCol="0" anchor="t">
            <a:normAutofit fontScale="92500"/>
          </a:bodyPr>
          <a:lstStyle/>
          <a:p>
            <a:pPr marL="0" marR="0" indent="0">
              <a:lnSpc>
                <a:spcPct val="150000"/>
              </a:lnSpc>
              <a:buNone/>
            </a:pPr>
            <a:r>
              <a:rPr lang="en-GB" sz="2800" b="1"/>
              <a:t>Per question:</a:t>
            </a:r>
          </a:p>
          <a:p>
            <a:pPr marL="457200" indent="-457200">
              <a:lnSpc>
                <a:spcPct val="150000"/>
              </a:lnSpc>
              <a:buFont typeface="Arial"/>
              <a:buChar char="•"/>
            </a:pPr>
            <a:r>
              <a:rPr lang="en-GB" sz="2600">
                <a:cs typeface="Poppins"/>
              </a:rPr>
              <a:t>2 mins - Intros</a:t>
            </a:r>
          </a:p>
          <a:p>
            <a:pPr marL="457200" indent="-457200">
              <a:lnSpc>
                <a:spcPct val="150000"/>
              </a:lnSpc>
              <a:buFont typeface="Arial"/>
              <a:buChar char="•"/>
            </a:pPr>
            <a:r>
              <a:rPr lang="en-GB" sz="2600">
                <a:cs typeface="Poppins"/>
              </a:rPr>
              <a:t>3 mins (x3) - Everyone writes their responses to each question in Mural </a:t>
            </a:r>
          </a:p>
          <a:p>
            <a:pPr marL="457200" indent="-457200">
              <a:lnSpc>
                <a:spcPct val="150000"/>
              </a:lnSpc>
              <a:buFont typeface="Arial"/>
              <a:buChar char="•"/>
            </a:pPr>
            <a:r>
              <a:rPr lang="en-GB" sz="2600">
                <a:cs typeface="Poppins"/>
              </a:rPr>
              <a:t>7 mins (x3) – Group discussion on the feedback given </a:t>
            </a:r>
          </a:p>
          <a:p>
            <a:pPr marL="457200" indent="-457200">
              <a:lnSpc>
                <a:spcPct val="150000"/>
              </a:lnSpc>
              <a:buFont typeface="Arial"/>
              <a:buChar char="•"/>
            </a:pPr>
            <a:r>
              <a:rPr lang="en-GB" sz="2600">
                <a:cs typeface="Poppins"/>
              </a:rPr>
              <a:t>3 mins - To review and vote on the response they consider most important (You each have 1 vote per question)</a:t>
            </a:r>
            <a:endParaRPr lang="en-US" sz="2600">
              <a:cs typeface="Poppins"/>
            </a:endParaRPr>
          </a:p>
          <a:p>
            <a:pPr marL="0" indent="0">
              <a:lnSpc>
                <a:spcPct val="150000"/>
              </a:lnSpc>
              <a:buNone/>
            </a:pPr>
            <a:endParaRPr lang="en-GB" b="1">
              <a:cs typeface="Poppins"/>
            </a:endParaRPr>
          </a:p>
        </p:txBody>
      </p:sp>
      <p:sp>
        <p:nvSpPr>
          <p:cNvPr id="4" name="TextBox 3">
            <a:extLst>
              <a:ext uri="{FF2B5EF4-FFF2-40B4-BE49-F238E27FC236}">
                <a16:creationId xmlns:a16="http://schemas.microsoft.com/office/drawing/2014/main" id="{07073995-102B-4C16-D268-CA0E0D04F349}"/>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3605464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CA4B9-CEA3-22B8-DDCA-4F4BFEE619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C745B0-83FB-2214-E5E9-5E689954081F}"/>
              </a:ext>
            </a:extLst>
          </p:cNvPr>
          <p:cNvSpPr>
            <a:spLocks noGrp="1"/>
          </p:cNvSpPr>
          <p:nvPr>
            <p:ph type="title"/>
          </p:nvPr>
        </p:nvSpPr>
        <p:spPr/>
        <p:txBody>
          <a:bodyPr/>
          <a:lstStyle/>
          <a:p>
            <a:r>
              <a:rPr lang="en-GB"/>
              <a:t>Car park </a:t>
            </a:r>
          </a:p>
        </p:txBody>
      </p:sp>
      <p:sp>
        <p:nvSpPr>
          <p:cNvPr id="3" name="Content Placeholder 2">
            <a:extLst>
              <a:ext uri="{FF2B5EF4-FFF2-40B4-BE49-F238E27FC236}">
                <a16:creationId xmlns:a16="http://schemas.microsoft.com/office/drawing/2014/main" id="{A553445D-D88E-E04D-FCEC-C614C9886C0E}"/>
              </a:ext>
            </a:extLst>
          </p:cNvPr>
          <p:cNvSpPr>
            <a:spLocks noGrp="1"/>
          </p:cNvSpPr>
          <p:nvPr>
            <p:ph idx="1"/>
          </p:nvPr>
        </p:nvSpPr>
        <p:spPr>
          <a:xfrm>
            <a:off x="637273" y="1825625"/>
            <a:ext cx="8708205" cy="4351338"/>
          </a:xfrm>
        </p:spPr>
        <p:txBody>
          <a:bodyPr vert="horz" lIns="91440" tIns="45720" rIns="91440" bIns="45720" rtlCol="0" anchor="t">
            <a:normAutofit/>
          </a:bodyPr>
          <a:lstStyle/>
          <a:p>
            <a:pPr marL="457200" indent="-457200">
              <a:buFont typeface="Arial" panose="020B0604020202020204" pitchFamily="34" charset="0"/>
              <a:buChar char="•"/>
            </a:pPr>
            <a:r>
              <a:rPr lang="en-GB"/>
              <a:t>Used by participants to capture items</a:t>
            </a:r>
            <a:r>
              <a:rPr lang="en-GB" b="1"/>
              <a:t> outside of today's session scope</a:t>
            </a:r>
          </a:p>
          <a:p>
            <a:pPr marL="0" indent="0">
              <a:buNone/>
            </a:pPr>
            <a:endParaRPr lang="en-GB" b="1"/>
          </a:p>
          <a:p>
            <a:pPr marL="457200" indent="-457200">
              <a:buFont typeface="Arial" panose="020B0604020202020204" pitchFamily="34" charset="0"/>
              <a:buChar char="•"/>
            </a:pPr>
            <a:r>
              <a:rPr lang="en-GB"/>
              <a:t>Points will be considered when drafting other sections of the methodology.</a:t>
            </a:r>
            <a:endParaRPr lang="en-GB">
              <a:cs typeface="Poppins"/>
            </a:endParaRPr>
          </a:p>
          <a:p>
            <a:pPr marL="0" indent="0">
              <a:buNone/>
            </a:pPr>
            <a:endParaRPr lang="en-GB">
              <a:highlight>
                <a:srgbClr val="FFFF00"/>
              </a:highlight>
            </a:endParaRPr>
          </a:p>
        </p:txBody>
      </p:sp>
      <p:pic>
        <p:nvPicPr>
          <p:cNvPr id="5" name="Graphic 4" descr="Car with solid fill">
            <a:extLst>
              <a:ext uri="{FF2B5EF4-FFF2-40B4-BE49-F238E27FC236}">
                <a16:creationId xmlns:a16="http://schemas.microsoft.com/office/drawing/2014/main" id="{D2750BFD-9EC4-04BE-F2BE-4AB4846B5A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24249" y="451643"/>
            <a:ext cx="1152525" cy="1152525"/>
          </a:xfrm>
          <a:prstGeom prst="rect">
            <a:avLst/>
          </a:prstGeom>
        </p:spPr>
      </p:pic>
      <p:sp>
        <p:nvSpPr>
          <p:cNvPr id="6" name="TextBox 5">
            <a:extLst>
              <a:ext uri="{FF2B5EF4-FFF2-40B4-BE49-F238E27FC236}">
                <a16:creationId xmlns:a16="http://schemas.microsoft.com/office/drawing/2014/main" id="{E271EC54-0006-20A6-2616-729BFC3AD37B}"/>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1465880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E602F9-2E10-4A0D-C6C8-3A452013C2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83881D-9364-BAAE-1507-C09532CF10CD}"/>
              </a:ext>
            </a:extLst>
          </p:cNvPr>
          <p:cNvSpPr>
            <a:spLocks noGrp="1"/>
          </p:cNvSpPr>
          <p:nvPr>
            <p:ph type="ctrTitle"/>
          </p:nvPr>
        </p:nvSpPr>
        <p:spPr>
          <a:xfrm>
            <a:off x="532944" y="1788983"/>
            <a:ext cx="7295004" cy="2387600"/>
          </a:xfrm>
        </p:spPr>
        <p:txBody>
          <a:bodyPr>
            <a:normAutofit/>
          </a:bodyPr>
          <a:lstStyle/>
          <a:p>
            <a:r>
              <a:rPr lang="en-GB">
                <a:latin typeface="+mn-lt"/>
                <a:cs typeface="Poppins"/>
              </a:rPr>
              <a:t>Feedback &amp; discussion</a:t>
            </a:r>
            <a:endParaRPr lang="en-GB"/>
          </a:p>
        </p:txBody>
      </p:sp>
      <p:sp>
        <p:nvSpPr>
          <p:cNvPr id="3" name="Subtitle 2">
            <a:extLst>
              <a:ext uri="{FF2B5EF4-FFF2-40B4-BE49-F238E27FC236}">
                <a16:creationId xmlns:a16="http://schemas.microsoft.com/office/drawing/2014/main" id="{0AFF77D4-CFB0-1533-768A-0BBCB71C5017}"/>
              </a:ext>
            </a:extLst>
          </p:cNvPr>
          <p:cNvSpPr>
            <a:spLocks noGrp="1"/>
          </p:cNvSpPr>
          <p:nvPr>
            <p:ph type="subTitle" idx="1"/>
          </p:nvPr>
        </p:nvSpPr>
        <p:spPr/>
        <p:txBody>
          <a:bodyPr>
            <a:normAutofit/>
          </a:bodyPr>
          <a:lstStyle/>
          <a:p>
            <a:r>
              <a:rPr lang="en-GB" sz="2200"/>
              <a:t>20 mins</a:t>
            </a:r>
          </a:p>
          <a:p>
            <a:r>
              <a:rPr lang="en-GB" sz="2200"/>
              <a:t>All</a:t>
            </a:r>
          </a:p>
        </p:txBody>
      </p:sp>
      <p:sp>
        <p:nvSpPr>
          <p:cNvPr id="4" name="TextBox 3">
            <a:extLst>
              <a:ext uri="{FF2B5EF4-FFF2-40B4-BE49-F238E27FC236}">
                <a16:creationId xmlns:a16="http://schemas.microsoft.com/office/drawing/2014/main" id="{580A0AF5-355D-4AD3-B513-164BBFDAD374}"/>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31537835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11042-46CB-488B-5338-1A87D6AB7A47}"/>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7259A476-4A77-4062-DA73-016BE610DB36}"/>
              </a:ext>
            </a:extLst>
          </p:cNvPr>
          <p:cNvSpPr>
            <a:spLocks noGrp="1"/>
          </p:cNvSpPr>
          <p:nvPr>
            <p:ph type="title"/>
          </p:nvPr>
        </p:nvSpPr>
        <p:spPr/>
        <p:txBody>
          <a:bodyPr>
            <a:normAutofit/>
          </a:bodyPr>
          <a:lstStyle/>
          <a:p>
            <a:r>
              <a:rPr lang="en-GB">
                <a:cs typeface="Poppins"/>
              </a:rPr>
              <a:t>Feedback &amp; Discussion (20 mins)</a:t>
            </a:r>
          </a:p>
        </p:txBody>
      </p:sp>
      <p:sp>
        <p:nvSpPr>
          <p:cNvPr id="3" name="Content Placeholder 2">
            <a:extLst>
              <a:ext uri="{FF2B5EF4-FFF2-40B4-BE49-F238E27FC236}">
                <a16:creationId xmlns:a16="http://schemas.microsoft.com/office/drawing/2014/main" id="{FBAB3390-6972-A60F-CBEE-D7D3BD3B1128}"/>
              </a:ext>
            </a:extLst>
          </p:cNvPr>
          <p:cNvSpPr>
            <a:spLocks noGrp="1"/>
          </p:cNvSpPr>
          <p:nvPr>
            <p:ph idx="1"/>
          </p:nvPr>
        </p:nvSpPr>
        <p:spPr/>
        <p:txBody>
          <a:bodyPr>
            <a:normAutofit/>
          </a:bodyPr>
          <a:lstStyle/>
          <a:p>
            <a:pPr marL="457200" lvl="1" indent="0">
              <a:buNone/>
              <a:defRPr sz="1600"/>
            </a:pPr>
            <a:r>
              <a:rPr lang="en-GB" sz="2800"/>
              <a:t>Once the breakout sessions have ended:</a:t>
            </a:r>
          </a:p>
          <a:p>
            <a:pPr marL="457200" lvl="1" indent="0">
              <a:buNone/>
              <a:defRPr sz="1600"/>
            </a:pPr>
            <a:endParaRPr lang="en-GB" sz="2800"/>
          </a:p>
          <a:p>
            <a:pPr lvl="1">
              <a:buFont typeface="Arial" panose="020B0604020202020204" pitchFamily="34" charset="0"/>
              <a:buChar char="•"/>
              <a:defRPr sz="1600"/>
            </a:pPr>
            <a:r>
              <a:rPr lang="en-GB" sz="2800"/>
              <a:t>Voting results will be displayed from Mural</a:t>
            </a:r>
          </a:p>
          <a:p>
            <a:pPr lvl="1">
              <a:buFont typeface="Arial" panose="020B0604020202020204" pitchFamily="34" charset="0"/>
              <a:buChar char="•"/>
              <a:defRPr sz="1600"/>
            </a:pPr>
            <a:r>
              <a:rPr lang="en-GB" sz="2800"/>
              <a:t>Chair will highlight most voted points</a:t>
            </a:r>
          </a:p>
          <a:p>
            <a:pPr lvl="1">
              <a:buFont typeface="Arial" panose="020B0604020202020204" pitchFamily="34" charset="0"/>
              <a:buChar char="•"/>
              <a:defRPr sz="1600"/>
            </a:pPr>
            <a:r>
              <a:rPr lang="en-GB" sz="2800"/>
              <a:t>Open discussion on key themes</a:t>
            </a:r>
          </a:p>
        </p:txBody>
      </p:sp>
      <p:sp>
        <p:nvSpPr>
          <p:cNvPr id="2" name="TextBox 1">
            <a:extLst>
              <a:ext uri="{FF2B5EF4-FFF2-40B4-BE49-F238E27FC236}">
                <a16:creationId xmlns:a16="http://schemas.microsoft.com/office/drawing/2014/main" id="{631D5399-8F67-9C4B-861D-39E05B2C6338}"/>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630374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148B0-407A-694A-486F-40FCC12D4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BE98C9-8FA7-71B8-5F00-0CEA749185BA}"/>
              </a:ext>
            </a:extLst>
          </p:cNvPr>
          <p:cNvSpPr>
            <a:spLocks noGrp="1"/>
          </p:cNvSpPr>
          <p:nvPr>
            <p:ph type="ctrTitle"/>
          </p:nvPr>
        </p:nvSpPr>
        <p:spPr>
          <a:xfrm>
            <a:off x="532944" y="1788983"/>
            <a:ext cx="7295004" cy="2387600"/>
          </a:xfrm>
        </p:spPr>
        <p:txBody>
          <a:bodyPr>
            <a:normAutofit/>
          </a:bodyPr>
          <a:lstStyle/>
          <a:p>
            <a:r>
              <a:rPr lang="en-GB">
                <a:latin typeface="+mn-lt"/>
                <a:cs typeface="Poppins"/>
              </a:rPr>
              <a:t>Next steps</a:t>
            </a:r>
            <a:endParaRPr lang="en-GB"/>
          </a:p>
        </p:txBody>
      </p:sp>
      <p:sp>
        <p:nvSpPr>
          <p:cNvPr id="3" name="Subtitle 2">
            <a:extLst>
              <a:ext uri="{FF2B5EF4-FFF2-40B4-BE49-F238E27FC236}">
                <a16:creationId xmlns:a16="http://schemas.microsoft.com/office/drawing/2014/main" id="{0F4B00B1-2B63-9B27-C458-4633C9313F68}"/>
              </a:ext>
            </a:extLst>
          </p:cNvPr>
          <p:cNvSpPr>
            <a:spLocks noGrp="1"/>
          </p:cNvSpPr>
          <p:nvPr>
            <p:ph type="subTitle" idx="1"/>
          </p:nvPr>
        </p:nvSpPr>
        <p:spPr/>
        <p:txBody>
          <a:bodyPr vert="horz" lIns="91440" tIns="45720" rIns="91440" bIns="45720" rtlCol="0" anchor="t">
            <a:normAutofit/>
          </a:bodyPr>
          <a:lstStyle/>
          <a:p>
            <a:r>
              <a:rPr lang="en-GB" sz="2200">
                <a:cs typeface="Poppins"/>
              </a:rPr>
              <a:t>5 mins</a:t>
            </a:r>
          </a:p>
          <a:p>
            <a:r>
              <a:rPr lang="en-GB" sz="2200">
                <a:cs typeface="Poppins"/>
              </a:rPr>
              <a:t>Jonny Sadler</a:t>
            </a:r>
            <a:endParaRPr lang="en-GB" sz="2200"/>
          </a:p>
        </p:txBody>
      </p:sp>
      <p:sp>
        <p:nvSpPr>
          <p:cNvPr id="4" name="TextBox 3">
            <a:extLst>
              <a:ext uri="{FF2B5EF4-FFF2-40B4-BE49-F238E27FC236}">
                <a16:creationId xmlns:a16="http://schemas.microsoft.com/office/drawing/2014/main" id="{7B00E9C1-8D30-51A9-AEE4-4464EFBC2DE0}"/>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1303007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14F19-913A-2F77-29EC-CACE384F4889}"/>
              </a:ext>
            </a:extLst>
          </p:cNvPr>
          <p:cNvSpPr>
            <a:spLocks noGrp="1"/>
          </p:cNvSpPr>
          <p:nvPr>
            <p:ph type="title"/>
          </p:nvPr>
        </p:nvSpPr>
        <p:spPr>
          <a:xfrm>
            <a:off x="637273" y="365125"/>
            <a:ext cx="8307435" cy="1325563"/>
          </a:xfrm>
        </p:spPr>
        <p:txBody>
          <a:bodyPr anchor="ctr">
            <a:normAutofit/>
          </a:bodyPr>
          <a:lstStyle/>
          <a:p>
            <a:r>
              <a:rPr lang="en-GB"/>
              <a:t>Agenda</a:t>
            </a:r>
          </a:p>
        </p:txBody>
      </p:sp>
      <p:sp>
        <p:nvSpPr>
          <p:cNvPr id="4" name="TextBox 3">
            <a:extLst>
              <a:ext uri="{FF2B5EF4-FFF2-40B4-BE49-F238E27FC236}">
                <a16:creationId xmlns:a16="http://schemas.microsoft.com/office/drawing/2014/main" id="{26E4D9A5-4667-BDE9-F71D-C6812D976361}"/>
              </a:ext>
            </a:extLst>
          </p:cNvPr>
          <p:cNvSpPr txBox="1"/>
          <p:nvPr/>
        </p:nvSpPr>
        <p:spPr>
          <a:xfrm>
            <a:off x="1707" y="3237773"/>
            <a:ext cx="9878621" cy="3215065"/>
          </a:xfrm>
          <a:prstGeom prst="roundRect">
            <a:avLst/>
          </a:prstGeom>
          <a:solidFill>
            <a:srgbClr val="3F0731"/>
          </a:solid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nSpc>
                <a:spcPct val="150000"/>
              </a:lnSpc>
              <a:spcBef>
                <a:spcPts val="500"/>
              </a:spcBef>
              <a:buAutoNum type="arabicPeriod"/>
            </a:pPr>
            <a:r>
              <a:rPr lang="en-GB" sz="1600">
                <a:solidFill>
                  <a:schemeClr val="bg1"/>
                </a:solidFill>
                <a:cs typeface="Poppins"/>
              </a:rPr>
              <a:t>Welcome (5 mins) – Jonny Sadler</a:t>
            </a:r>
          </a:p>
          <a:p>
            <a:pPr marL="742950" lvl="1" indent="-285750">
              <a:lnSpc>
                <a:spcPct val="150000"/>
              </a:lnSpc>
              <a:spcBef>
                <a:spcPts val="500"/>
              </a:spcBef>
              <a:buAutoNum type="arabicPeriod"/>
            </a:pPr>
            <a:r>
              <a:rPr lang="en-GB" sz="1600">
                <a:solidFill>
                  <a:schemeClr val="bg1"/>
                </a:solidFill>
                <a:cs typeface="Poppins"/>
              </a:rPr>
              <a:t>Presentation (15 mins) - Nick Smith</a:t>
            </a:r>
          </a:p>
          <a:p>
            <a:pPr marL="742950" lvl="1" indent="-285750">
              <a:lnSpc>
                <a:spcPct val="150000"/>
              </a:lnSpc>
              <a:spcBef>
                <a:spcPts val="500"/>
              </a:spcBef>
              <a:buAutoNum type="arabicPeriod"/>
            </a:pPr>
            <a:r>
              <a:rPr lang="pt-BR" sz="1600">
                <a:solidFill>
                  <a:schemeClr val="bg1"/>
                </a:solidFill>
                <a:cs typeface="Poppins"/>
              </a:rPr>
              <a:t>Plenary Q&amp;A (10 mins) - Jonny Sadler chairing with Nick Smith and Faith Natukunda</a:t>
            </a:r>
            <a:endParaRPr lang="en-GB" sz="1600">
              <a:solidFill>
                <a:schemeClr val="bg1"/>
              </a:solidFill>
              <a:cs typeface="Poppins"/>
            </a:endParaRPr>
          </a:p>
          <a:p>
            <a:pPr marL="742950" lvl="1" indent="-285750">
              <a:lnSpc>
                <a:spcPct val="150000"/>
              </a:lnSpc>
              <a:spcBef>
                <a:spcPts val="500"/>
              </a:spcBef>
              <a:buAutoNum type="arabicPeriod"/>
            </a:pPr>
            <a:r>
              <a:rPr lang="pt-BR" sz="1600">
                <a:solidFill>
                  <a:schemeClr val="bg1"/>
                </a:solidFill>
                <a:cs typeface="Poppins"/>
              </a:rPr>
              <a:t>Breakout workshops (35 mins) </a:t>
            </a:r>
          </a:p>
          <a:p>
            <a:pPr marL="742950" lvl="1" indent="-285750">
              <a:lnSpc>
                <a:spcPct val="150000"/>
              </a:lnSpc>
              <a:spcBef>
                <a:spcPts val="500"/>
              </a:spcBef>
              <a:buAutoNum type="arabicPeriod"/>
            </a:pPr>
            <a:r>
              <a:rPr lang="en-GB" sz="1600">
                <a:solidFill>
                  <a:schemeClr val="bg1"/>
                </a:solidFill>
                <a:cs typeface="Poppins"/>
              </a:rPr>
              <a:t>Feedback &amp; discussion (20 mins) - nominated participant or facilitator to feed back</a:t>
            </a:r>
          </a:p>
          <a:p>
            <a:pPr marL="742950" lvl="1" indent="-285750">
              <a:lnSpc>
                <a:spcPct val="150000"/>
              </a:lnSpc>
              <a:spcBef>
                <a:spcPts val="500"/>
              </a:spcBef>
              <a:buAutoNum type="arabicPeriod"/>
            </a:pPr>
            <a:r>
              <a:rPr lang="en-GB" sz="1600">
                <a:solidFill>
                  <a:schemeClr val="bg1"/>
                </a:solidFill>
                <a:cs typeface="Poppins"/>
              </a:rPr>
              <a:t>Next steps (5 mins) - Jonny Sadler</a:t>
            </a:r>
            <a:endParaRPr lang="en-GB">
              <a:solidFill>
                <a:schemeClr val="bg1"/>
              </a:solidFill>
            </a:endParaRPr>
          </a:p>
          <a:p>
            <a:endParaRPr lang="en-GB"/>
          </a:p>
        </p:txBody>
      </p:sp>
    </p:spTree>
    <p:extLst>
      <p:ext uri="{BB962C8B-B14F-4D97-AF65-F5344CB8AC3E}">
        <p14:creationId xmlns:p14="http://schemas.microsoft.com/office/powerpoint/2010/main" val="29357398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775EE-38B6-C113-DA2A-7AAC9D17A8C8}"/>
              </a:ext>
            </a:extLst>
          </p:cNvPr>
          <p:cNvSpPr>
            <a:spLocks noGrp="1"/>
          </p:cNvSpPr>
          <p:nvPr>
            <p:ph type="title"/>
          </p:nvPr>
        </p:nvSpPr>
        <p:spPr/>
        <p:txBody>
          <a:bodyPr/>
          <a:lstStyle/>
          <a:p>
            <a:r>
              <a:rPr lang="en-US">
                <a:cs typeface="Poppins"/>
              </a:rPr>
              <a:t>How to respond</a:t>
            </a:r>
            <a:endParaRPr lang="en-US"/>
          </a:p>
        </p:txBody>
      </p:sp>
      <p:sp>
        <p:nvSpPr>
          <p:cNvPr id="3" name="Text Placeholder 2">
            <a:extLst>
              <a:ext uri="{FF2B5EF4-FFF2-40B4-BE49-F238E27FC236}">
                <a16:creationId xmlns:a16="http://schemas.microsoft.com/office/drawing/2014/main" id="{EEC05A55-B1BC-7AD9-21EE-00A441B26A79}"/>
              </a:ext>
            </a:extLst>
          </p:cNvPr>
          <p:cNvSpPr>
            <a:spLocks noGrp="1"/>
          </p:cNvSpPr>
          <p:nvPr>
            <p:ph type="body" sz="quarter" idx="13"/>
          </p:nvPr>
        </p:nvSpPr>
        <p:spPr>
          <a:xfrm>
            <a:off x="637273" y="1591834"/>
            <a:ext cx="11027505" cy="4153354"/>
          </a:xfrm>
        </p:spPr>
        <p:txBody>
          <a:bodyPr vert="horz" lIns="91440" tIns="45720" rIns="91440" bIns="45720" rtlCol="0" anchor="t">
            <a:noAutofit/>
          </a:bodyPr>
          <a:lstStyle/>
          <a:p>
            <a:pPr marL="342900" indent="-342900">
              <a:spcAft>
                <a:spcPts val="600"/>
              </a:spcAft>
              <a:buFont typeface="Arial" panose="020B0604020202020204" pitchFamily="34" charset="0"/>
              <a:buChar char="•"/>
            </a:pPr>
            <a:r>
              <a:rPr lang="en-GB" sz="1600">
                <a:solidFill>
                  <a:srgbClr val="000000"/>
                </a:solidFill>
                <a:latin typeface="+mn-lt"/>
              </a:rPr>
              <a:t>Please submit your responses by </a:t>
            </a:r>
            <a:r>
              <a:rPr lang="en-GB" sz="1600" b="1">
                <a:solidFill>
                  <a:srgbClr val="000000"/>
                </a:solidFill>
                <a:latin typeface="+mn-lt"/>
              </a:rPr>
              <a:t>11.59pm on 16 March 2026</a:t>
            </a:r>
            <a:endParaRPr lang="en-US"/>
          </a:p>
          <a:p>
            <a:pPr marL="342900" indent="-342900">
              <a:spcAft>
                <a:spcPts val="600"/>
              </a:spcAft>
              <a:buFont typeface="Arial" panose="020B0604020202020204" pitchFamily="34" charset="0"/>
              <a:buChar char="•"/>
            </a:pPr>
            <a:r>
              <a:rPr lang="en-GB" sz="1600">
                <a:solidFill>
                  <a:srgbClr val="000000"/>
                </a:solidFill>
                <a:latin typeface="+mn-lt"/>
                <a:cs typeface="Poppins"/>
              </a:rPr>
              <a:t>Please submit your response via the </a:t>
            </a:r>
            <a:r>
              <a:rPr lang="en-GB" sz="1600" b="1">
                <a:solidFill>
                  <a:srgbClr val="000000"/>
                </a:solidFill>
                <a:latin typeface="+mn-lt"/>
                <a:cs typeface="Poppins"/>
              </a:rPr>
              <a:t>Qualtrics platform:  </a:t>
            </a:r>
            <a:r>
              <a:rPr lang="en-GB" sz="1600">
                <a:solidFill>
                  <a:srgbClr val="000000"/>
                </a:solidFill>
                <a:ea typeface="+mj-lt"/>
                <a:cs typeface="+mj-lt"/>
                <a:hlinkClick r:id="rId3"/>
              </a:rPr>
              <a:t>https://nationalgrideso.fra1.qualtrics.com/jfe/form/SV_8pJAMkj82VNpEyi</a:t>
            </a:r>
          </a:p>
          <a:p>
            <a:pPr marL="342900" indent="-342900">
              <a:spcAft>
                <a:spcPts val="600"/>
              </a:spcAft>
              <a:buFont typeface="Arial" panose="020B0604020202020204" pitchFamily="34" charset="0"/>
              <a:buChar char="•"/>
            </a:pPr>
            <a:r>
              <a:rPr lang="en-GB" sz="1600">
                <a:solidFill>
                  <a:srgbClr val="000000"/>
                </a:solidFill>
                <a:latin typeface="+mn-lt"/>
              </a:rPr>
              <a:t>If you are not able to submit via Qualtrics, please let us know at </a:t>
            </a:r>
            <a:r>
              <a:rPr lang="en-GB" sz="1600" u="sng">
                <a:solidFill>
                  <a:srgbClr val="000000"/>
                </a:solidFill>
                <a:latin typeface="+mn-lt"/>
                <a:hlinkClick r:id="rId4"/>
              </a:rPr>
              <a:t>box.resp@neso.energy</a:t>
            </a:r>
            <a:r>
              <a:rPr lang="en-GB" sz="1600">
                <a:solidFill>
                  <a:srgbClr val="000000"/>
                </a:solidFill>
                <a:latin typeface="+mn-lt"/>
              </a:rPr>
              <a:t>  by 9 March 2026, at the latest. </a:t>
            </a:r>
            <a:endParaRPr lang="en-GB" sz="1600">
              <a:latin typeface="+mn-lt"/>
              <a:cs typeface="Poppins"/>
            </a:endParaRPr>
          </a:p>
          <a:p>
            <a:pPr marL="342900" indent="-342900">
              <a:spcAft>
                <a:spcPts val="600"/>
              </a:spcAft>
              <a:buFont typeface="Arial" panose="020B0604020202020204" pitchFamily="34" charset="0"/>
              <a:buChar char="•"/>
            </a:pPr>
            <a:r>
              <a:rPr lang="en-GB" sz="1600" i="0">
                <a:solidFill>
                  <a:srgbClr val="32363A"/>
                </a:solidFill>
                <a:effectLst/>
                <a:latin typeface="+mn-lt"/>
              </a:rPr>
              <a:t>Responses are saved as you progress through the form, so you don't have to complete all questions at once. </a:t>
            </a:r>
            <a:r>
              <a:rPr lang="en-GB" sz="1600" b="1">
                <a:solidFill>
                  <a:srgbClr val="32363A"/>
                </a:solidFill>
                <a:latin typeface="+mn-lt"/>
              </a:rPr>
              <a:t>P</a:t>
            </a:r>
            <a:r>
              <a:rPr lang="en-GB" sz="1600" b="1" i="0">
                <a:solidFill>
                  <a:srgbClr val="32363A"/>
                </a:solidFill>
                <a:effectLst/>
                <a:latin typeface="+mn-lt"/>
              </a:rPr>
              <a:t>lease note that they are only saved when you go to the next page of the survey</a:t>
            </a:r>
            <a:r>
              <a:rPr lang="en-GB" sz="1600" b="1">
                <a:solidFill>
                  <a:srgbClr val="32363A"/>
                </a:solidFill>
                <a:latin typeface="+mn-lt"/>
              </a:rPr>
              <a:t>.</a:t>
            </a:r>
            <a:endParaRPr lang="en-GB" sz="1600" b="1" i="0">
              <a:solidFill>
                <a:srgbClr val="32363A"/>
              </a:solidFill>
              <a:effectLst/>
              <a:latin typeface="+mn-lt"/>
              <a:cs typeface="Poppins"/>
            </a:endParaRPr>
          </a:p>
          <a:p>
            <a:pPr marL="342900" indent="-342900">
              <a:spcAft>
                <a:spcPts val="600"/>
              </a:spcAft>
              <a:buFont typeface="Arial" panose="020B0604020202020204" pitchFamily="34" charset="0"/>
              <a:buChar char="•"/>
            </a:pPr>
            <a:r>
              <a:rPr lang="en-GB" sz="1600" i="0">
                <a:solidFill>
                  <a:srgbClr val="32363A"/>
                </a:solidFill>
                <a:effectLst/>
                <a:latin typeface="+mn-lt"/>
              </a:rPr>
              <a:t>You will be able to download a copy of your responses as a PDF at the end</a:t>
            </a:r>
            <a:r>
              <a:rPr lang="en-GB" sz="1600">
                <a:solidFill>
                  <a:srgbClr val="32363A"/>
                </a:solidFill>
                <a:latin typeface="+mn-lt"/>
              </a:rPr>
              <a:t>.</a:t>
            </a:r>
            <a:endParaRPr lang="en-GB" sz="1600" i="0">
              <a:solidFill>
                <a:srgbClr val="32363A"/>
              </a:solidFill>
              <a:effectLst/>
              <a:latin typeface="+mn-lt"/>
              <a:cs typeface="Poppins"/>
            </a:endParaRPr>
          </a:p>
          <a:p>
            <a:pPr marL="342900" indent="-342900">
              <a:spcAft>
                <a:spcPts val="600"/>
              </a:spcAft>
              <a:buFont typeface="Arial" panose="020B0604020202020204" pitchFamily="34" charset="0"/>
              <a:buChar char="•"/>
            </a:pPr>
            <a:r>
              <a:rPr lang="en-GB" sz="1600">
                <a:solidFill>
                  <a:srgbClr val="32363A"/>
                </a:solidFill>
                <a:latin typeface="+mn-lt"/>
                <a:cs typeface="Poppins"/>
              </a:rPr>
              <a:t>FAQs are published on the RESP Methodology consultation section of the NESO website</a:t>
            </a:r>
            <a:endParaRPr lang="en-GB"/>
          </a:p>
          <a:p>
            <a:pPr marL="342900" indent="-342900">
              <a:spcAft>
                <a:spcPts val="600"/>
              </a:spcAft>
              <a:buFont typeface="Arial" panose="020B0604020202020204" pitchFamily="34" charset="0"/>
              <a:buChar char="•"/>
            </a:pPr>
            <a:r>
              <a:rPr lang="en-GB" sz="1600">
                <a:solidFill>
                  <a:srgbClr val="32363A"/>
                </a:solidFill>
                <a:latin typeface="+mn-lt"/>
                <a:cs typeface="Poppins"/>
              </a:rPr>
              <a:t>If you have any questions, please email: </a:t>
            </a:r>
            <a:r>
              <a:rPr lang="en-GB" sz="1600">
                <a:solidFill>
                  <a:srgbClr val="000000"/>
                </a:solidFill>
                <a:latin typeface="+mn-lt"/>
                <a:cs typeface="Poppins"/>
                <a:hlinkClick r:id="rId4"/>
              </a:rPr>
              <a:t>box.resp@neso.energy</a:t>
            </a:r>
          </a:p>
          <a:p>
            <a:pPr marL="342900" indent="-342900">
              <a:spcAft>
                <a:spcPts val="600"/>
              </a:spcAft>
              <a:buAutoNum type="arabicPeriod" startAt="3"/>
            </a:pPr>
            <a:endParaRPr lang="en-GB" sz="1600">
              <a:solidFill>
                <a:srgbClr val="32363A"/>
              </a:solidFill>
              <a:latin typeface="+mn-lt"/>
              <a:cs typeface="Poppins"/>
              <a:hlinkClick r:id="rId4">
                <a:extLst>
                  <a:ext uri="{A12FA001-AC4F-418D-AE19-62706E023703}">
                    <ahyp:hlinkClr xmlns:ahyp="http://schemas.microsoft.com/office/drawing/2018/hyperlinkcolor" val="tx"/>
                  </a:ext>
                </a:extLst>
              </a:hlinkClick>
            </a:endParaRPr>
          </a:p>
        </p:txBody>
      </p:sp>
      <p:sp>
        <p:nvSpPr>
          <p:cNvPr id="4" name="TextBox 3">
            <a:extLst>
              <a:ext uri="{FF2B5EF4-FFF2-40B4-BE49-F238E27FC236}">
                <a16:creationId xmlns:a16="http://schemas.microsoft.com/office/drawing/2014/main" id="{FFA8FBEC-0D41-D7D5-28DD-1989CFB67179}"/>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424087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EF83D-3209-60F3-8B82-C0D13C2D9FB6}"/>
              </a:ext>
            </a:extLst>
          </p:cNvPr>
          <p:cNvSpPr>
            <a:spLocks noGrp="1"/>
          </p:cNvSpPr>
          <p:nvPr>
            <p:ph type="title"/>
          </p:nvPr>
        </p:nvSpPr>
        <p:spPr/>
        <p:txBody>
          <a:bodyPr/>
          <a:lstStyle/>
          <a:p>
            <a:r>
              <a:rPr lang="en-GB"/>
              <a:t>Session aims</a:t>
            </a:r>
          </a:p>
        </p:txBody>
      </p:sp>
      <p:sp>
        <p:nvSpPr>
          <p:cNvPr id="3" name="Text Placeholder 2">
            <a:extLst>
              <a:ext uri="{FF2B5EF4-FFF2-40B4-BE49-F238E27FC236}">
                <a16:creationId xmlns:a16="http://schemas.microsoft.com/office/drawing/2014/main" id="{11DE5AD2-D612-4BE9-6EEE-7735AC4C48CE}"/>
              </a:ext>
            </a:extLst>
          </p:cNvPr>
          <p:cNvSpPr>
            <a:spLocks noGrp="1"/>
          </p:cNvSpPr>
          <p:nvPr>
            <p:ph type="body" sz="quarter" idx="13"/>
          </p:nvPr>
        </p:nvSpPr>
        <p:spPr>
          <a:xfrm>
            <a:off x="637273" y="2536371"/>
            <a:ext cx="8782952" cy="4153354"/>
          </a:xfrm>
        </p:spPr>
        <p:txBody>
          <a:bodyPr/>
          <a:lstStyle/>
          <a:p>
            <a:pPr marL="457200" indent="-457200">
              <a:buFont typeface="+mj-lt"/>
              <a:buAutoNum type="arabicPeriod"/>
            </a:pPr>
            <a:r>
              <a:rPr lang="en-GB" sz="2400"/>
              <a:t>NESO presents our updated proposals</a:t>
            </a:r>
          </a:p>
          <a:p>
            <a:pPr marL="457200" indent="-457200">
              <a:buFont typeface="+mj-lt"/>
              <a:buAutoNum type="arabicPeriod"/>
            </a:pPr>
            <a:r>
              <a:rPr lang="en-GB" sz="2400"/>
              <a:t>NESO answers any clarification questions</a:t>
            </a:r>
          </a:p>
          <a:p>
            <a:pPr marL="457200" indent="-457200">
              <a:buFont typeface="+mj-lt"/>
              <a:buAutoNum type="arabicPeriod"/>
            </a:pPr>
            <a:r>
              <a:rPr lang="en-GB" sz="2400"/>
              <a:t>Attendees provide feedback on our proposals</a:t>
            </a:r>
          </a:p>
          <a:p>
            <a:endParaRPr lang="en-GB"/>
          </a:p>
        </p:txBody>
      </p:sp>
      <p:pic>
        <p:nvPicPr>
          <p:cNvPr id="6" name="Graphic 5" descr="Bullseye with solid fill">
            <a:extLst>
              <a:ext uri="{FF2B5EF4-FFF2-40B4-BE49-F238E27FC236}">
                <a16:creationId xmlns:a16="http://schemas.microsoft.com/office/drawing/2014/main" id="{627F3514-3C42-83B1-88FB-4FA3632BE17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91537" y="2045493"/>
            <a:ext cx="2767013" cy="2767013"/>
          </a:xfrm>
          <a:prstGeom prst="rect">
            <a:avLst/>
          </a:prstGeom>
        </p:spPr>
      </p:pic>
      <p:sp>
        <p:nvSpPr>
          <p:cNvPr id="4" name="TextBox 3">
            <a:extLst>
              <a:ext uri="{FF2B5EF4-FFF2-40B4-BE49-F238E27FC236}">
                <a16:creationId xmlns:a16="http://schemas.microsoft.com/office/drawing/2014/main" id="{435019E4-741B-4576-4C35-F877ABFECB1A}"/>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1197002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FCFD8-3011-CA95-00E1-678791F50433}"/>
              </a:ext>
            </a:extLst>
          </p:cNvPr>
          <p:cNvSpPr>
            <a:spLocks noGrp="1"/>
          </p:cNvSpPr>
          <p:nvPr>
            <p:ph type="title"/>
          </p:nvPr>
        </p:nvSpPr>
        <p:spPr/>
        <p:txBody>
          <a:bodyPr>
            <a:normAutofit fontScale="90000"/>
          </a:bodyPr>
          <a:lstStyle/>
          <a:p>
            <a:r>
              <a:rPr lang="en-GB">
                <a:cs typeface="Poppins"/>
              </a:rPr>
              <a:t>RESP Methodology areas for further development - web page</a:t>
            </a:r>
            <a:endParaRPr lang="en-GB"/>
          </a:p>
        </p:txBody>
      </p:sp>
      <p:sp>
        <p:nvSpPr>
          <p:cNvPr id="6" name="Content Placeholder 5">
            <a:extLst>
              <a:ext uri="{FF2B5EF4-FFF2-40B4-BE49-F238E27FC236}">
                <a16:creationId xmlns:a16="http://schemas.microsoft.com/office/drawing/2014/main" id="{D8D4295F-20F0-BBE1-BE38-1619A1822ED0}"/>
              </a:ext>
            </a:extLst>
          </p:cNvPr>
          <p:cNvSpPr>
            <a:spLocks noGrp="1"/>
          </p:cNvSpPr>
          <p:nvPr>
            <p:ph idx="1"/>
          </p:nvPr>
        </p:nvSpPr>
        <p:spPr>
          <a:xfrm>
            <a:off x="745427" y="1809134"/>
            <a:ext cx="10945127" cy="4232891"/>
          </a:xfrm>
        </p:spPr>
        <p:txBody>
          <a:bodyPr vert="horz" lIns="91440" tIns="45720" rIns="91440" bIns="45720" rtlCol="0" anchor="t">
            <a:normAutofit/>
          </a:bodyPr>
          <a:lstStyle/>
          <a:p>
            <a:pPr marL="0" indent="0">
              <a:buNone/>
            </a:pPr>
            <a:r>
              <a:rPr lang="en-GB">
                <a:ea typeface="+mj-lt"/>
                <a:cs typeface="+mj-lt"/>
                <a:hlinkClick r:id="rId3"/>
              </a:rPr>
              <a:t>New feedback window open: RESP Methodology - areas for further development | National Energy System Operator</a:t>
            </a:r>
            <a:r>
              <a:rPr lang="en-GB">
                <a:ea typeface="+mj-lt"/>
                <a:cs typeface="+mj-lt"/>
              </a:rPr>
              <a:t> </a:t>
            </a:r>
            <a:endParaRPr lang="en-GB">
              <a:cs typeface="Poppins"/>
            </a:endParaRPr>
          </a:p>
        </p:txBody>
      </p:sp>
      <p:pic>
        <p:nvPicPr>
          <p:cNvPr id="3" name="Picture 2" descr="A qr code with black squares&#10;&#10;AI-generated content may be incorrect.">
            <a:extLst>
              <a:ext uri="{FF2B5EF4-FFF2-40B4-BE49-F238E27FC236}">
                <a16:creationId xmlns:a16="http://schemas.microsoft.com/office/drawing/2014/main" id="{4979E888-F31A-504F-C187-4A2482951BDB}"/>
              </a:ext>
            </a:extLst>
          </p:cNvPr>
          <p:cNvPicPr>
            <a:picLocks noChangeAspect="1"/>
          </p:cNvPicPr>
          <p:nvPr/>
        </p:nvPicPr>
        <p:blipFill>
          <a:blip r:embed="rId4"/>
          <a:stretch>
            <a:fillRect/>
          </a:stretch>
        </p:blipFill>
        <p:spPr>
          <a:xfrm>
            <a:off x="3679785" y="2864734"/>
            <a:ext cx="3810000" cy="3810000"/>
          </a:xfrm>
          <a:prstGeom prst="rect">
            <a:avLst/>
          </a:prstGeom>
        </p:spPr>
      </p:pic>
      <p:sp>
        <p:nvSpPr>
          <p:cNvPr id="4" name="TextBox 3">
            <a:extLst>
              <a:ext uri="{FF2B5EF4-FFF2-40B4-BE49-F238E27FC236}">
                <a16:creationId xmlns:a16="http://schemas.microsoft.com/office/drawing/2014/main" id="{75D3CE70-E42B-8B73-F88C-F78BF438EEA0}"/>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1677255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26175-32FA-5E13-0BC1-706917F51C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7B75A4-D9FE-30FE-CF20-7D3D2883C8B6}"/>
              </a:ext>
            </a:extLst>
          </p:cNvPr>
          <p:cNvSpPr>
            <a:spLocks noGrp="1"/>
          </p:cNvSpPr>
          <p:nvPr>
            <p:ph type="ctrTitle"/>
          </p:nvPr>
        </p:nvSpPr>
        <p:spPr>
          <a:xfrm>
            <a:off x="532944" y="1788983"/>
            <a:ext cx="7295004" cy="2387600"/>
          </a:xfrm>
        </p:spPr>
        <p:txBody>
          <a:bodyPr>
            <a:normAutofit/>
          </a:bodyPr>
          <a:lstStyle/>
          <a:p>
            <a:r>
              <a:rPr lang="en-GB" sz="4400" b="1">
                <a:solidFill>
                  <a:schemeClr val="bg1"/>
                </a:solidFill>
                <a:latin typeface="+mn-lt"/>
                <a:cs typeface="Poppins"/>
              </a:rPr>
              <a:t>Spatial Context for Gas and Biomethane </a:t>
            </a:r>
            <a:br>
              <a:rPr lang="en-GB" sz="4400" b="1">
                <a:solidFill>
                  <a:schemeClr val="bg1"/>
                </a:solidFill>
              </a:rPr>
            </a:br>
            <a:endParaRPr lang="en-GB"/>
          </a:p>
        </p:txBody>
      </p:sp>
      <p:sp>
        <p:nvSpPr>
          <p:cNvPr id="3" name="Subtitle 2">
            <a:extLst>
              <a:ext uri="{FF2B5EF4-FFF2-40B4-BE49-F238E27FC236}">
                <a16:creationId xmlns:a16="http://schemas.microsoft.com/office/drawing/2014/main" id="{984203A6-F804-4043-6B10-7EAA2FE96F15}"/>
              </a:ext>
            </a:extLst>
          </p:cNvPr>
          <p:cNvSpPr>
            <a:spLocks noGrp="1"/>
          </p:cNvSpPr>
          <p:nvPr>
            <p:ph type="subTitle" idx="1"/>
          </p:nvPr>
        </p:nvSpPr>
        <p:spPr/>
        <p:txBody>
          <a:bodyPr vert="horz" lIns="91440" tIns="45720" rIns="91440" bIns="45720" rtlCol="0" anchor="t">
            <a:normAutofit/>
          </a:bodyPr>
          <a:lstStyle/>
          <a:p>
            <a:r>
              <a:rPr lang="en-GB" sz="2200">
                <a:cs typeface="Poppins"/>
              </a:rPr>
              <a:t>15 mins</a:t>
            </a:r>
          </a:p>
          <a:p>
            <a:r>
              <a:rPr lang="en-GB" sz="2200">
                <a:cs typeface="Poppins"/>
              </a:rPr>
              <a:t>Presentation - Nick Smith</a:t>
            </a:r>
          </a:p>
        </p:txBody>
      </p:sp>
      <p:sp>
        <p:nvSpPr>
          <p:cNvPr id="4" name="TextBox 3">
            <a:extLst>
              <a:ext uri="{FF2B5EF4-FFF2-40B4-BE49-F238E27FC236}">
                <a16:creationId xmlns:a16="http://schemas.microsoft.com/office/drawing/2014/main" id="{D8C35EA8-85B5-4ABB-833B-460B2F3548E5}"/>
              </a:ext>
            </a:extLst>
          </p:cNvPr>
          <p:cNvSpPr txBox="1"/>
          <p:nvPr/>
        </p:nvSpPr>
        <p:spPr>
          <a:xfrm>
            <a:off x="580954" y="138451"/>
            <a:ext cx="1218349" cy="307777"/>
          </a:xfrm>
          <a:prstGeom prst="rect">
            <a:avLst/>
          </a:prstGeom>
          <a:solidFill>
            <a:srgbClr val="3F0731"/>
          </a:solidFill>
        </p:spPr>
        <p:txBody>
          <a:bodyPr wrap="square" rtlCol="0">
            <a:spAutoFit/>
          </a:bodyPr>
          <a:lstStyle/>
          <a:p>
            <a:r>
              <a:rPr lang="en-GB" sz="1400">
                <a:solidFill>
                  <a:schemeClr val="bg1"/>
                </a:solidFill>
              </a:rPr>
              <a:t>Public</a:t>
            </a:r>
          </a:p>
        </p:txBody>
      </p:sp>
    </p:spTree>
    <p:extLst>
      <p:ext uri="{BB962C8B-B14F-4D97-AF65-F5344CB8AC3E}">
        <p14:creationId xmlns:p14="http://schemas.microsoft.com/office/powerpoint/2010/main" val="3596730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DFB1F-604A-04FC-5269-8135F984845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B8DF8EC-B404-C14A-CFDE-D6E2466F52FD}"/>
              </a:ext>
            </a:extLst>
          </p:cNvPr>
          <p:cNvSpPr/>
          <p:nvPr/>
        </p:nvSpPr>
        <p:spPr>
          <a:xfrm>
            <a:off x="781932" y="3162748"/>
            <a:ext cx="4690334" cy="33301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a:ea typeface="+mn-ea"/>
              <a:cs typeface="+mn-cs"/>
            </a:endParaRPr>
          </a:p>
        </p:txBody>
      </p:sp>
      <p:graphicFrame>
        <p:nvGraphicFramePr>
          <p:cNvPr id="9" name="think-cell data - do not delete" hidden="1">
            <a:extLst>
              <a:ext uri="{FF2B5EF4-FFF2-40B4-BE49-F238E27FC236}">
                <a16:creationId xmlns:a16="http://schemas.microsoft.com/office/drawing/2014/main" id="{E6A6BF33-98B9-C644-BE3F-FE181477F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9" name="think-cell data - do not delete" hidden="1">
                        <a:extLst>
                          <a:ext uri="{FF2B5EF4-FFF2-40B4-BE49-F238E27FC236}">
                            <a16:creationId xmlns:a16="http://schemas.microsoft.com/office/drawing/2014/main" id="{E6A6BF33-98B9-C644-BE3F-FE181477F9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1129EB-46AB-C122-3B0F-F2DA3958E687}"/>
              </a:ext>
            </a:extLst>
          </p:cNvPr>
          <p:cNvSpPr>
            <a:spLocks noGrp="1"/>
          </p:cNvSpPr>
          <p:nvPr>
            <p:ph type="title"/>
          </p:nvPr>
        </p:nvSpPr>
        <p:spPr/>
        <p:txBody>
          <a:bodyPr vert="horz">
            <a:normAutofit/>
          </a:bodyPr>
          <a:lstStyle/>
          <a:p>
            <a:r>
              <a:rPr lang="en-GB" sz="3200" noProof="0"/>
              <a:t>Reminder: What is Spatial Context?</a:t>
            </a:r>
          </a:p>
        </p:txBody>
      </p:sp>
      <p:sp>
        <p:nvSpPr>
          <p:cNvPr id="7" name="TextBox 4">
            <a:extLst>
              <a:ext uri="{FF2B5EF4-FFF2-40B4-BE49-F238E27FC236}">
                <a16:creationId xmlns:a16="http://schemas.microsoft.com/office/drawing/2014/main" id="{FFC5D8A4-14D2-0089-7949-143B2EFD576E}"/>
              </a:ext>
            </a:extLst>
          </p:cNvPr>
          <p:cNvSpPr txBox="1"/>
          <p:nvPr/>
        </p:nvSpPr>
        <p:spPr>
          <a:xfrm>
            <a:off x="427817" y="1491913"/>
            <a:ext cx="11416058" cy="1509471"/>
          </a:xfrm>
          <a:prstGeom prst="rect">
            <a:avLst/>
          </a:prstGeom>
          <a:solidFill>
            <a:srgbClr val="FF00FF">
              <a:alpha val="14118"/>
            </a:srgbClr>
          </a:solidFill>
          <a:ln>
            <a:noFill/>
          </a:ln>
        </p:spPr>
        <p:txBody>
          <a:bodyPr wrap="squar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13999"/>
              </a:lnSpc>
              <a:spcBef>
                <a:spcPts val="0"/>
              </a:spcBef>
              <a:spcAft>
                <a:spcPts val="1200"/>
              </a:spcAft>
              <a:buNone/>
              <a:tabLst/>
              <a:defRPr/>
            </a:pPr>
            <a:endParaRPr lang="en-GB" sz="1400" b="0" i="0" u="none" strike="noStrike" kern="1200" cap="none" spc="0" normalizeH="0" baseline="0" noProof="0">
              <a:ln>
                <a:noFill/>
              </a:ln>
              <a:solidFill>
                <a:prstClr val="black"/>
              </a:solidFill>
              <a:effectLst/>
              <a:uLnTx/>
              <a:uFillTx/>
              <a:latin typeface="Poppins" panose="00000500000000000000" pitchFamily="2" charset="0"/>
              <a:ea typeface="Poppins" panose="00000500000000000000" pitchFamily="2" charset="0"/>
              <a:cs typeface="Poppins"/>
            </a:endParaRPr>
          </a:p>
          <a:p>
            <a:pPr algn="ctr">
              <a:lnSpc>
                <a:spcPct val="113999"/>
              </a:lnSpc>
              <a:spcAft>
                <a:spcPts val="1200"/>
              </a:spcAft>
              <a:defRPr/>
            </a:pPr>
            <a:r>
              <a:rPr kumimoji="0" lang="en-GB" sz="1400" b="0" i="0" u="none" strike="noStrike" kern="1200" cap="none" spc="0" normalizeH="0" baseline="0" noProof="0">
                <a:ln>
                  <a:noFill/>
                </a:ln>
                <a:effectLst/>
                <a:uLnTx/>
                <a:uFillTx/>
                <a:latin typeface="Poppins"/>
                <a:ea typeface="Poppins" panose="00000500000000000000" pitchFamily="2" charset="0"/>
                <a:cs typeface="Poppins"/>
              </a:rPr>
              <a:t>The Spatial Context is a </a:t>
            </a:r>
            <a:r>
              <a:rPr kumimoji="0" lang="en-GB" sz="1400" i="0" u="none" strike="noStrike" kern="1200" cap="none" spc="0" normalizeH="0" baseline="0" noProof="0">
                <a:ln>
                  <a:noFill/>
                </a:ln>
                <a:effectLst/>
                <a:uLnTx/>
                <a:uFillTx/>
                <a:latin typeface="Poppins"/>
                <a:ea typeface="Poppins" panose="00000500000000000000" pitchFamily="2" charset="0"/>
                <a:cs typeface="Poppins"/>
              </a:rPr>
              <a:t>key geospatial component of the RESP</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 It provides a </a:t>
            </a:r>
            <a:r>
              <a:rPr kumimoji="0" lang="en-GB" sz="1400" i="0" u="none" strike="noStrike" kern="1200" cap="none" spc="0" normalizeH="0" baseline="0" noProof="0">
                <a:ln>
                  <a:noFill/>
                </a:ln>
                <a:effectLst/>
                <a:uLnTx/>
                <a:uFillTx/>
                <a:latin typeface="Poppins"/>
                <a:ea typeface="Poppins" panose="00000500000000000000" pitchFamily="2" charset="0"/>
                <a:cs typeface="Poppins"/>
              </a:rPr>
              <a:t>whole energy visualisation</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 based on </a:t>
            </a:r>
            <a:r>
              <a:rPr lang="en-GB" sz="1400">
                <a:latin typeface="Poppins"/>
                <a:ea typeface="Poppins" panose="00000500000000000000" pitchFamily="2" charset="0"/>
                <a:cs typeface="Poppins"/>
              </a:rPr>
              <a:t>RESP Pathways </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through an accessible digital mapping tool</a:t>
            </a:r>
            <a:r>
              <a:rPr lang="en-GB" sz="1400">
                <a:latin typeface="Poppins"/>
                <a:ea typeface="Poppins" panose="00000500000000000000" pitchFamily="2" charset="0"/>
                <a:cs typeface="Poppins"/>
              </a:rPr>
              <a:t> </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and</a:t>
            </a:r>
            <a:r>
              <a:rPr lang="en-GB" sz="1400">
                <a:latin typeface="Poppins"/>
                <a:ea typeface="Poppins" panose="00000500000000000000" pitchFamily="2" charset="0"/>
                <a:cs typeface="Poppins"/>
              </a:rPr>
              <a:t> will use both </a:t>
            </a:r>
            <a:r>
              <a:rPr lang="en-GB" sz="1400" b="1">
                <a:latin typeface="Poppins"/>
                <a:ea typeface="Poppins" panose="00000500000000000000" pitchFamily="2" charset="0"/>
                <a:cs typeface="Poppins"/>
              </a:rPr>
              <a:t>geographical </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and</a:t>
            </a:r>
            <a:r>
              <a:rPr lang="en-GB" sz="1400">
                <a:latin typeface="Poppins"/>
                <a:ea typeface="Poppins" panose="00000500000000000000" pitchFamily="2" charset="0"/>
                <a:cs typeface="Poppins"/>
              </a:rPr>
              <a:t> </a:t>
            </a:r>
            <a:r>
              <a:rPr kumimoji="0" lang="en-GB" sz="1400" b="1" i="0" u="none" strike="noStrike" kern="1200" cap="none" spc="0" normalizeH="0" baseline="0" noProof="0">
                <a:ln>
                  <a:noFill/>
                </a:ln>
                <a:effectLst/>
                <a:uLnTx/>
                <a:uFillTx/>
                <a:latin typeface="Poppins"/>
                <a:ea typeface="Poppins" panose="00000500000000000000" pitchFamily="2" charset="0"/>
                <a:cs typeface="Poppins"/>
              </a:rPr>
              <a:t>network </a:t>
            </a:r>
            <a:r>
              <a:rPr lang="en-GB" sz="1400" b="1">
                <a:latin typeface="Poppins"/>
                <a:ea typeface="Poppins" panose="00000500000000000000" pitchFamily="2" charset="0"/>
                <a:cs typeface="Poppins"/>
              </a:rPr>
              <a:t>asset</a:t>
            </a:r>
            <a:r>
              <a:rPr lang="en-GB" sz="1400">
                <a:latin typeface="Poppins"/>
                <a:ea typeface="Poppins" panose="00000500000000000000" pitchFamily="2" charset="0"/>
                <a:cs typeface="Poppins"/>
              </a:rPr>
              <a:t> views to allow users to </a:t>
            </a:r>
            <a:r>
              <a:rPr lang="en-GB" sz="1400" b="1">
                <a:latin typeface="Poppins"/>
                <a:ea typeface="Poppins" panose="00000500000000000000" pitchFamily="2" charset="0"/>
                <a:cs typeface="Poppins"/>
              </a:rPr>
              <a:t>interrogate </a:t>
            </a:r>
            <a:r>
              <a:rPr kumimoji="0" lang="en-GB" sz="1400" b="1" i="0" u="none" strike="noStrike" kern="1200" cap="none" spc="0" normalizeH="0" baseline="0" noProof="0">
                <a:ln>
                  <a:noFill/>
                </a:ln>
                <a:effectLst/>
                <a:uLnTx/>
                <a:uFillTx/>
                <a:latin typeface="Poppins"/>
                <a:ea typeface="Poppins" panose="00000500000000000000" pitchFamily="2" charset="0"/>
                <a:cs typeface="Poppins"/>
              </a:rPr>
              <a:t>system </a:t>
            </a:r>
            <a:r>
              <a:rPr lang="en-GB" sz="1400" b="1">
                <a:latin typeface="Poppins"/>
                <a:ea typeface="Poppins" panose="00000500000000000000" pitchFamily="2" charset="0"/>
                <a:cs typeface="Poppins"/>
              </a:rPr>
              <a:t>needs </a:t>
            </a:r>
            <a:r>
              <a:rPr lang="en-GB" sz="1400" i="1">
                <a:latin typeface="Poppins"/>
                <a:ea typeface="Poppins" panose="00000500000000000000" pitchFamily="2" charset="0"/>
                <a:cs typeface="Poppins"/>
              </a:rPr>
              <a:t>spatially </a:t>
            </a:r>
            <a:r>
              <a:rPr lang="en-GB" sz="1400">
                <a:latin typeface="Poppins"/>
                <a:ea typeface="Poppins" panose="00000500000000000000" pitchFamily="2" charset="0"/>
                <a:cs typeface="Poppins"/>
              </a:rPr>
              <a:t>and </a:t>
            </a:r>
            <a:r>
              <a:rPr lang="en-GB" sz="1400" i="1">
                <a:latin typeface="Poppins"/>
                <a:ea typeface="Poppins" panose="00000500000000000000" pitchFamily="2" charset="0"/>
                <a:cs typeface="Poppins"/>
              </a:rPr>
              <a:t>temporally</a:t>
            </a:r>
            <a:r>
              <a:rPr lang="en-GB" sz="1400">
                <a:latin typeface="Poppins"/>
                <a:ea typeface="Poppins" panose="00000500000000000000" pitchFamily="2" charset="0"/>
                <a:cs typeface="Poppins"/>
              </a:rPr>
              <a:t>, including where potential constraints may emerge</a:t>
            </a:r>
            <a:r>
              <a:rPr kumimoji="0" lang="en-GB" sz="1400" b="0" i="0" u="none" strike="noStrike" kern="1200" cap="none" spc="0" normalizeH="0" baseline="0" noProof="0">
                <a:ln>
                  <a:noFill/>
                </a:ln>
                <a:effectLst/>
                <a:uLnTx/>
                <a:uFillTx/>
                <a:latin typeface="Poppins"/>
                <a:ea typeface="Poppins" panose="00000500000000000000" pitchFamily="2" charset="0"/>
                <a:cs typeface="Poppins"/>
              </a:rPr>
              <a:t>.</a:t>
            </a:r>
            <a:r>
              <a:rPr lang="en-GB" sz="1400">
                <a:latin typeface="Poppins"/>
                <a:ea typeface="Poppins" panose="00000500000000000000" pitchFamily="2" charset="0"/>
                <a:cs typeface="Poppins"/>
              </a:rPr>
              <a:t> </a:t>
            </a:r>
            <a:endParaRPr lang="en-US" sz="1400">
              <a:latin typeface="Poppins"/>
              <a:ea typeface="Poppins" panose="00000500000000000000" pitchFamily="2" charset="0"/>
              <a:cs typeface="Poppins"/>
            </a:endParaRPr>
          </a:p>
        </p:txBody>
      </p:sp>
      <p:sp>
        <p:nvSpPr>
          <p:cNvPr id="12" name="Rectangle 11">
            <a:extLst>
              <a:ext uri="{FF2B5EF4-FFF2-40B4-BE49-F238E27FC236}">
                <a16:creationId xmlns:a16="http://schemas.microsoft.com/office/drawing/2014/main" id="{5B8B61DE-DCC6-D81A-F532-913D509CA8A0}"/>
              </a:ext>
            </a:extLst>
          </p:cNvPr>
          <p:cNvSpPr/>
          <p:nvPr/>
        </p:nvSpPr>
        <p:spPr>
          <a:xfrm>
            <a:off x="580955" y="1636223"/>
            <a:ext cx="11183228" cy="36576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Poppins"/>
                <a:ea typeface="+mn-ea"/>
                <a:cs typeface="+mn-cs"/>
              </a:rPr>
              <a:t>Spatial Context Vision</a:t>
            </a:r>
          </a:p>
        </p:txBody>
      </p:sp>
      <p:pic>
        <p:nvPicPr>
          <p:cNvPr id="13" name="Picture 12">
            <a:extLst>
              <a:ext uri="{FF2B5EF4-FFF2-40B4-BE49-F238E27FC236}">
                <a16:creationId xmlns:a16="http://schemas.microsoft.com/office/drawing/2014/main" id="{D7ED8D2B-2B16-9F78-F301-76284386A976}"/>
              </a:ext>
            </a:extLst>
          </p:cNvPr>
          <p:cNvPicPr>
            <a:picLocks noChangeAspect="1"/>
          </p:cNvPicPr>
          <p:nvPr/>
        </p:nvPicPr>
        <p:blipFill>
          <a:blip r:embed="rId6"/>
          <a:srcRect l="13845" t="18608" r="23296" b="16757"/>
          <a:stretch>
            <a:fillRect/>
          </a:stretch>
        </p:blipFill>
        <p:spPr>
          <a:xfrm>
            <a:off x="3179506" y="3347961"/>
            <a:ext cx="2073203" cy="2109703"/>
          </a:xfrm>
          <a:prstGeom prst="rect">
            <a:avLst/>
          </a:prstGeom>
          <a:ln>
            <a:solidFill>
              <a:schemeClr val="bg1"/>
            </a:solidFill>
          </a:ln>
        </p:spPr>
      </p:pic>
      <p:sp>
        <p:nvSpPr>
          <p:cNvPr id="4" name="Rectangle 3">
            <a:extLst>
              <a:ext uri="{FF2B5EF4-FFF2-40B4-BE49-F238E27FC236}">
                <a16:creationId xmlns:a16="http://schemas.microsoft.com/office/drawing/2014/main" id="{D1D05734-3807-8ECC-5DC5-7DD80252BC8D}"/>
              </a:ext>
            </a:extLst>
          </p:cNvPr>
          <p:cNvSpPr/>
          <p:nvPr/>
        </p:nvSpPr>
        <p:spPr>
          <a:xfrm>
            <a:off x="5619177" y="3162748"/>
            <a:ext cx="4704401" cy="33301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a:ea typeface="+mn-ea"/>
              <a:cs typeface="+mn-cs"/>
            </a:endParaRPr>
          </a:p>
        </p:txBody>
      </p:sp>
      <p:sp>
        <p:nvSpPr>
          <p:cNvPr id="5" name="Rectangle 4">
            <a:extLst>
              <a:ext uri="{FF2B5EF4-FFF2-40B4-BE49-F238E27FC236}">
                <a16:creationId xmlns:a16="http://schemas.microsoft.com/office/drawing/2014/main" id="{8773BD4D-7F8E-C6C7-2CFA-ABA9DDF9E7D7}"/>
              </a:ext>
            </a:extLst>
          </p:cNvPr>
          <p:cNvSpPr/>
          <p:nvPr/>
        </p:nvSpPr>
        <p:spPr>
          <a:xfrm>
            <a:off x="983448" y="3328479"/>
            <a:ext cx="1795055" cy="87035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Poppins"/>
                <a:ea typeface="+mn-ea"/>
                <a:cs typeface="+mn-cs"/>
              </a:rPr>
              <a:t>Geographic View</a:t>
            </a:r>
          </a:p>
        </p:txBody>
      </p:sp>
      <p:sp>
        <p:nvSpPr>
          <p:cNvPr id="6" name="Rectangle 5">
            <a:extLst>
              <a:ext uri="{FF2B5EF4-FFF2-40B4-BE49-F238E27FC236}">
                <a16:creationId xmlns:a16="http://schemas.microsoft.com/office/drawing/2014/main" id="{8BC79530-351D-361A-A0E7-B9D088ED1DE0}"/>
              </a:ext>
            </a:extLst>
          </p:cNvPr>
          <p:cNvSpPr/>
          <p:nvPr/>
        </p:nvSpPr>
        <p:spPr>
          <a:xfrm>
            <a:off x="5751852" y="3328478"/>
            <a:ext cx="1795055" cy="92694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Poppins"/>
                <a:ea typeface="+mn-ea"/>
                <a:cs typeface="+mn-cs"/>
              </a:rPr>
              <a:t>Network Asset View</a:t>
            </a:r>
          </a:p>
        </p:txBody>
      </p:sp>
      <p:pic>
        <p:nvPicPr>
          <p:cNvPr id="8" name="Picture 7">
            <a:extLst>
              <a:ext uri="{FF2B5EF4-FFF2-40B4-BE49-F238E27FC236}">
                <a16:creationId xmlns:a16="http://schemas.microsoft.com/office/drawing/2014/main" id="{72AD0882-A0A7-34CC-18B0-50DB43CC8596}"/>
              </a:ext>
            </a:extLst>
          </p:cNvPr>
          <p:cNvPicPr>
            <a:picLocks noChangeAspect="1"/>
          </p:cNvPicPr>
          <p:nvPr/>
        </p:nvPicPr>
        <p:blipFill>
          <a:blip r:embed="rId7"/>
          <a:srcRect l="19740" t="15165" r="28777" b="22960"/>
          <a:stretch>
            <a:fillRect/>
          </a:stretch>
        </p:blipFill>
        <p:spPr>
          <a:xfrm>
            <a:off x="1317806" y="4302518"/>
            <a:ext cx="2090335" cy="2127137"/>
          </a:xfrm>
          <a:prstGeom prst="rect">
            <a:avLst/>
          </a:prstGeom>
          <a:ln>
            <a:solidFill>
              <a:schemeClr val="bg1"/>
            </a:solidFill>
          </a:ln>
        </p:spPr>
      </p:pic>
      <p:pic>
        <p:nvPicPr>
          <p:cNvPr id="18" name="Picture 17" descr="A map of a city&#10;&#10;AI-generated content may be incorrect.">
            <a:extLst>
              <a:ext uri="{FF2B5EF4-FFF2-40B4-BE49-F238E27FC236}">
                <a16:creationId xmlns:a16="http://schemas.microsoft.com/office/drawing/2014/main" id="{90FD6900-6C17-C4F7-7FF0-06FCCF1F5783}"/>
              </a:ext>
            </a:extLst>
          </p:cNvPr>
          <p:cNvPicPr>
            <a:picLocks noChangeAspect="1"/>
          </p:cNvPicPr>
          <p:nvPr/>
        </p:nvPicPr>
        <p:blipFill>
          <a:blip r:embed="rId8"/>
          <a:stretch>
            <a:fillRect/>
          </a:stretch>
        </p:blipFill>
        <p:spPr>
          <a:xfrm>
            <a:off x="7773236" y="3326946"/>
            <a:ext cx="2329233" cy="2130718"/>
          </a:xfrm>
          <a:prstGeom prst="rect">
            <a:avLst/>
          </a:prstGeom>
          <a:ln>
            <a:solidFill>
              <a:schemeClr val="bg1"/>
            </a:solidFill>
          </a:ln>
        </p:spPr>
      </p:pic>
      <p:pic>
        <p:nvPicPr>
          <p:cNvPr id="19" name="Picture 18" descr="A map of a city&#10;&#10;AI-generated content may be incorrect.">
            <a:extLst>
              <a:ext uri="{FF2B5EF4-FFF2-40B4-BE49-F238E27FC236}">
                <a16:creationId xmlns:a16="http://schemas.microsoft.com/office/drawing/2014/main" id="{324B9B33-7E63-2FCB-1288-D13679DD125A}"/>
              </a:ext>
            </a:extLst>
          </p:cNvPr>
          <p:cNvPicPr>
            <a:picLocks noChangeAspect="1"/>
          </p:cNvPicPr>
          <p:nvPr/>
        </p:nvPicPr>
        <p:blipFill>
          <a:blip r:embed="rId9"/>
          <a:stretch>
            <a:fillRect/>
          </a:stretch>
        </p:blipFill>
        <p:spPr>
          <a:xfrm>
            <a:off x="5866601" y="4349750"/>
            <a:ext cx="2409825" cy="2075543"/>
          </a:xfrm>
          <a:prstGeom prst="rect">
            <a:avLst/>
          </a:prstGeom>
          <a:ln>
            <a:solidFill>
              <a:schemeClr val="bg1"/>
            </a:solidFill>
          </a:ln>
        </p:spPr>
      </p:pic>
      <p:sp>
        <p:nvSpPr>
          <p:cNvPr id="14" name="TextBox 13">
            <a:extLst>
              <a:ext uri="{FF2B5EF4-FFF2-40B4-BE49-F238E27FC236}">
                <a16:creationId xmlns:a16="http://schemas.microsoft.com/office/drawing/2014/main" id="{5B4A9E17-F55F-AF87-8AEE-C578883ABE95}"/>
              </a:ext>
            </a:extLst>
          </p:cNvPr>
          <p:cNvSpPr txBox="1"/>
          <p:nvPr/>
        </p:nvSpPr>
        <p:spPr>
          <a:xfrm>
            <a:off x="2810281" y="6051397"/>
            <a:ext cx="734776" cy="307777"/>
          </a:xfrm>
          <a:prstGeom prst="rect">
            <a:avLst/>
          </a:prstGeom>
          <a:solidFill>
            <a:schemeClr val="accent3">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Poppins"/>
                <a:ea typeface="+mn-ea"/>
                <a:cs typeface="+mn-cs"/>
              </a:rPr>
              <a:t>2030</a:t>
            </a:r>
          </a:p>
        </p:txBody>
      </p:sp>
      <p:sp>
        <p:nvSpPr>
          <p:cNvPr id="11" name="TextBox 10">
            <a:extLst>
              <a:ext uri="{FF2B5EF4-FFF2-40B4-BE49-F238E27FC236}">
                <a16:creationId xmlns:a16="http://schemas.microsoft.com/office/drawing/2014/main" id="{B5EFB5E5-DF2B-4EE9-7219-07001CF5E7EB}"/>
              </a:ext>
            </a:extLst>
          </p:cNvPr>
          <p:cNvSpPr txBox="1"/>
          <p:nvPr/>
        </p:nvSpPr>
        <p:spPr>
          <a:xfrm>
            <a:off x="7783585" y="6044275"/>
            <a:ext cx="734776" cy="307777"/>
          </a:xfrm>
          <a:prstGeom prst="rect">
            <a:avLst/>
          </a:prstGeom>
          <a:solidFill>
            <a:schemeClr val="accent3">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Poppins"/>
                <a:ea typeface="+mn-ea"/>
                <a:cs typeface="+mn-cs"/>
              </a:rPr>
              <a:t>2030</a:t>
            </a:r>
          </a:p>
        </p:txBody>
      </p:sp>
      <p:sp>
        <p:nvSpPr>
          <p:cNvPr id="20" name="TextBox 19">
            <a:extLst>
              <a:ext uri="{FF2B5EF4-FFF2-40B4-BE49-F238E27FC236}">
                <a16:creationId xmlns:a16="http://schemas.microsoft.com/office/drawing/2014/main" id="{1E410E7C-6362-347D-9803-719C651E5B0D}"/>
              </a:ext>
            </a:extLst>
          </p:cNvPr>
          <p:cNvSpPr txBox="1"/>
          <p:nvPr/>
        </p:nvSpPr>
        <p:spPr>
          <a:xfrm>
            <a:off x="4606920" y="5100077"/>
            <a:ext cx="734776" cy="307777"/>
          </a:xfrm>
          <a:prstGeom prst="rect">
            <a:avLst/>
          </a:prstGeom>
          <a:solidFill>
            <a:schemeClr val="accent3">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Poppins"/>
                <a:ea typeface="+mn-ea"/>
                <a:cs typeface="+mn-cs"/>
              </a:rPr>
              <a:t>2050</a:t>
            </a:r>
          </a:p>
        </p:txBody>
      </p:sp>
      <p:sp>
        <p:nvSpPr>
          <p:cNvPr id="21" name="TextBox 20">
            <a:extLst>
              <a:ext uri="{FF2B5EF4-FFF2-40B4-BE49-F238E27FC236}">
                <a16:creationId xmlns:a16="http://schemas.microsoft.com/office/drawing/2014/main" id="{63370E05-1C07-4CE1-3E38-72C83073359A}"/>
              </a:ext>
            </a:extLst>
          </p:cNvPr>
          <p:cNvSpPr txBox="1"/>
          <p:nvPr/>
        </p:nvSpPr>
        <p:spPr>
          <a:xfrm>
            <a:off x="9514604" y="5089922"/>
            <a:ext cx="734776" cy="307777"/>
          </a:xfrm>
          <a:prstGeom prst="rect">
            <a:avLst/>
          </a:prstGeom>
          <a:solidFill>
            <a:schemeClr val="accent3">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Poppins"/>
                <a:ea typeface="+mn-ea"/>
                <a:cs typeface="+mn-cs"/>
              </a:rPr>
              <a:t>2050</a:t>
            </a:r>
          </a:p>
        </p:txBody>
      </p:sp>
      <p:sp>
        <p:nvSpPr>
          <p:cNvPr id="15" name="TextBox 14">
            <a:extLst>
              <a:ext uri="{FF2B5EF4-FFF2-40B4-BE49-F238E27FC236}">
                <a16:creationId xmlns:a16="http://schemas.microsoft.com/office/drawing/2014/main" id="{5D3239B6-5A25-5CF0-7898-1F63BB8366A1}"/>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23043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DFB1F-604A-04FC-5269-8135F984845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6A6BF33-98B9-C644-BE3F-FE181477F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9" name="think-cell data - do not delete" hidden="1">
                        <a:extLst>
                          <a:ext uri="{FF2B5EF4-FFF2-40B4-BE49-F238E27FC236}">
                            <a16:creationId xmlns:a16="http://schemas.microsoft.com/office/drawing/2014/main" id="{E6A6BF33-98B9-C644-BE3F-FE181477F9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459FD799-D064-C982-8DF7-9DE5FEB0F0AD}"/>
              </a:ext>
            </a:extLst>
          </p:cNvPr>
          <p:cNvSpPr txBox="1"/>
          <p:nvPr/>
        </p:nvSpPr>
        <p:spPr>
          <a:xfrm>
            <a:off x="600686" y="1451773"/>
            <a:ext cx="2912258" cy="307777"/>
          </a:xfrm>
          <a:prstGeom prst="rect">
            <a:avLst/>
          </a:prstGeom>
          <a:noFill/>
        </p:spPr>
        <p:txBody>
          <a:bodyPr wrap="square" rtlCol="0">
            <a:spAutoFit/>
          </a:bodyPr>
          <a:lstStyle/>
          <a:p>
            <a:r>
              <a:rPr lang="en-GB" sz="1400" b="1">
                <a:solidFill>
                  <a:schemeClr val="accent3"/>
                </a:solidFill>
              </a:rPr>
              <a:t>Areas of Further Work </a:t>
            </a:r>
          </a:p>
        </p:txBody>
      </p:sp>
      <p:sp>
        <p:nvSpPr>
          <p:cNvPr id="20" name="Title 1">
            <a:extLst>
              <a:ext uri="{FF2B5EF4-FFF2-40B4-BE49-F238E27FC236}">
                <a16:creationId xmlns:a16="http://schemas.microsoft.com/office/drawing/2014/main" id="{19D3F197-A3EA-CB94-1BF9-65DFAD06A66F}"/>
              </a:ext>
            </a:extLst>
          </p:cNvPr>
          <p:cNvSpPr>
            <a:spLocks noGrp="1"/>
          </p:cNvSpPr>
          <p:nvPr>
            <p:ph type="title"/>
          </p:nvPr>
        </p:nvSpPr>
        <p:spPr>
          <a:xfrm>
            <a:off x="637273" y="365126"/>
            <a:ext cx="10515600" cy="621194"/>
          </a:xfrm>
        </p:spPr>
        <p:txBody>
          <a:bodyPr vert="horz" lIns="0">
            <a:normAutofit/>
          </a:bodyPr>
          <a:lstStyle/>
          <a:p>
            <a:r>
              <a:rPr lang="en-GB" sz="3200" noProof="0">
                <a:solidFill>
                  <a:schemeClr val="tx2"/>
                </a:solidFill>
                <a:latin typeface="Poppins" pitchFamily="2" charset="77"/>
                <a:cs typeface="Poppins" pitchFamily="2" charset="77"/>
              </a:rPr>
              <a:t>Spatial Context </a:t>
            </a:r>
          </a:p>
        </p:txBody>
      </p:sp>
      <p:sp>
        <p:nvSpPr>
          <p:cNvPr id="21" name="Rectangle 20">
            <a:extLst>
              <a:ext uri="{FF2B5EF4-FFF2-40B4-BE49-F238E27FC236}">
                <a16:creationId xmlns:a16="http://schemas.microsoft.com/office/drawing/2014/main" id="{75A76D56-08E0-280E-AB68-3C907A762A8D}"/>
              </a:ext>
            </a:extLst>
          </p:cNvPr>
          <p:cNvSpPr/>
          <p:nvPr/>
        </p:nvSpPr>
        <p:spPr>
          <a:xfrm>
            <a:off x="627627" y="956194"/>
            <a:ext cx="11120605" cy="601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91440" bIns="45720" rtlCol="0" anchor="t"/>
          <a:lstStyle/>
          <a:p>
            <a:r>
              <a:rPr lang="en-US" noProof="0">
                <a:solidFill>
                  <a:schemeClr val="tx2"/>
                </a:solidFill>
                <a:latin typeface="Poppins"/>
                <a:cs typeface="Poppins"/>
              </a:rPr>
              <a:t>Areas of further work have focused on integration of Gas</a:t>
            </a:r>
            <a:r>
              <a:rPr lang="en-US">
                <a:solidFill>
                  <a:schemeClr val="tx2"/>
                </a:solidFill>
                <a:latin typeface="Poppins"/>
                <a:cs typeface="Poppins"/>
              </a:rPr>
              <a:t> </a:t>
            </a:r>
            <a:r>
              <a:rPr lang="en-US" noProof="0">
                <a:solidFill>
                  <a:schemeClr val="tx2"/>
                </a:solidFill>
                <a:latin typeface="Poppins"/>
                <a:cs typeface="Poppins"/>
              </a:rPr>
              <a:t>and Biomethane</a:t>
            </a:r>
            <a:r>
              <a:rPr lang="en-US">
                <a:solidFill>
                  <a:schemeClr val="tx2"/>
                </a:solidFill>
                <a:latin typeface="Poppins"/>
                <a:cs typeface="Poppins"/>
              </a:rPr>
              <a:t> </a:t>
            </a:r>
            <a:r>
              <a:rPr lang="en-US" noProof="0">
                <a:solidFill>
                  <a:schemeClr val="tx2"/>
                </a:solidFill>
                <a:latin typeface="Poppins"/>
                <a:cs typeface="Poppins"/>
              </a:rPr>
              <a:t>into Spatial Context</a:t>
            </a:r>
            <a:r>
              <a:rPr lang="en-US">
                <a:solidFill>
                  <a:schemeClr val="tx2"/>
                </a:solidFill>
                <a:latin typeface="Poppins"/>
                <a:cs typeface="Poppins"/>
              </a:rPr>
              <a:t>.</a:t>
            </a:r>
            <a:endParaRPr lang="en-US" noProof="0">
              <a:solidFill>
                <a:schemeClr val="tx2"/>
              </a:solidFill>
              <a:latin typeface="Poppins"/>
              <a:cs typeface="Poppins"/>
            </a:endParaRPr>
          </a:p>
        </p:txBody>
      </p:sp>
      <p:graphicFrame>
        <p:nvGraphicFramePr>
          <p:cNvPr id="25" name="Table 24">
            <a:extLst>
              <a:ext uri="{FF2B5EF4-FFF2-40B4-BE49-F238E27FC236}">
                <a16:creationId xmlns:a16="http://schemas.microsoft.com/office/drawing/2014/main" id="{D717FB01-DA4D-AF0B-5593-B5D0FADBFEC3}"/>
              </a:ext>
            </a:extLst>
          </p:cNvPr>
          <p:cNvGraphicFramePr>
            <a:graphicFrameLocks noGrp="1"/>
          </p:cNvGraphicFramePr>
          <p:nvPr>
            <p:extLst>
              <p:ext uri="{D42A27DB-BD31-4B8C-83A1-F6EECF244321}">
                <p14:modId xmlns:p14="http://schemas.microsoft.com/office/powerpoint/2010/main" val="3291401478"/>
              </p:ext>
            </p:extLst>
          </p:nvPr>
        </p:nvGraphicFramePr>
        <p:xfrm>
          <a:off x="320299" y="1758079"/>
          <a:ext cx="11551402" cy="4885093"/>
        </p:xfrm>
        <a:graphic>
          <a:graphicData uri="http://schemas.openxmlformats.org/drawingml/2006/table">
            <a:tbl>
              <a:tblPr firstRow="1" bandRow="1">
                <a:tableStyleId>{5C22544A-7EE6-4342-B048-85BDC9FD1C3A}</a:tableStyleId>
              </a:tblPr>
              <a:tblGrid>
                <a:gridCol w="440202">
                  <a:extLst>
                    <a:ext uri="{9D8B030D-6E8A-4147-A177-3AD203B41FA5}">
                      <a16:colId xmlns:a16="http://schemas.microsoft.com/office/drawing/2014/main" val="4263122095"/>
                    </a:ext>
                  </a:extLst>
                </a:gridCol>
                <a:gridCol w="1321687">
                  <a:extLst>
                    <a:ext uri="{9D8B030D-6E8A-4147-A177-3AD203B41FA5}">
                      <a16:colId xmlns:a16="http://schemas.microsoft.com/office/drawing/2014/main" val="4000040013"/>
                    </a:ext>
                  </a:extLst>
                </a:gridCol>
                <a:gridCol w="9789513">
                  <a:extLst>
                    <a:ext uri="{9D8B030D-6E8A-4147-A177-3AD203B41FA5}">
                      <a16:colId xmlns:a16="http://schemas.microsoft.com/office/drawing/2014/main" val="1766968212"/>
                    </a:ext>
                  </a:extLst>
                </a:gridCol>
              </a:tblGrid>
              <a:tr h="356572">
                <a:tc>
                  <a:txBody>
                    <a:bodyPr/>
                    <a:lstStyle/>
                    <a:p>
                      <a:endParaRPr lang="en-GB" sz="1400"/>
                    </a:p>
                  </a:txBody>
                  <a:tcPr anchor="ctr">
                    <a:noFill/>
                  </a:tcPr>
                </a:tc>
                <a:tc>
                  <a:txBody>
                    <a:bodyPr/>
                    <a:lstStyle/>
                    <a:p>
                      <a:r>
                        <a:rPr lang="en-GB" sz="1400"/>
                        <a:t>Topic</a:t>
                      </a:r>
                    </a:p>
                  </a:txBody>
                  <a:tcPr anchor="ctr"/>
                </a:tc>
                <a:tc>
                  <a:txBody>
                    <a:bodyPr/>
                    <a:lstStyle/>
                    <a:p>
                      <a:r>
                        <a:rPr lang="en-GB" sz="1400"/>
                        <a:t>Proposed changes from draft methodology</a:t>
                      </a:r>
                    </a:p>
                  </a:txBody>
                  <a:tcPr anchor="ctr"/>
                </a:tc>
                <a:extLst>
                  <a:ext uri="{0D108BD9-81ED-4DB2-BD59-A6C34878D82A}">
                    <a16:rowId xmlns:a16="http://schemas.microsoft.com/office/drawing/2014/main" val="3074587616"/>
                  </a:ext>
                </a:extLst>
              </a:tr>
              <a:tr h="1509507">
                <a:tc>
                  <a:txBody>
                    <a:bodyPr/>
                    <a:lstStyle/>
                    <a:p>
                      <a:pPr algn="ctr"/>
                      <a:r>
                        <a:rPr lang="en-GB" sz="2800" b="1">
                          <a:solidFill>
                            <a:schemeClr val="accent3"/>
                          </a:solidFill>
                        </a:rPr>
                        <a:t>1</a:t>
                      </a:r>
                    </a:p>
                  </a:txBody>
                  <a:tcPr anchor="ctr">
                    <a:noFill/>
                  </a:tcPr>
                </a:tc>
                <a:tc>
                  <a:txBody>
                    <a:bodyPr/>
                    <a:lstStyle/>
                    <a:p>
                      <a:r>
                        <a:rPr lang="en-GB" sz="1400" b="0"/>
                        <a:t>Gas (Demand)</a:t>
                      </a:r>
                    </a:p>
                  </a:txBody>
                  <a:tcPr anchor="ctr"/>
                </a:tc>
                <a:tc>
                  <a:txBody>
                    <a:bodyPr/>
                    <a:lstStyle/>
                    <a:p>
                      <a:pPr marL="0" indent="0">
                        <a:lnSpc>
                          <a:spcPct val="150000"/>
                        </a:lnSpc>
                        <a:buNone/>
                      </a:pPr>
                      <a:r>
                        <a:rPr lang="en-GB" sz="1200" b="1" kern="1200">
                          <a:solidFill>
                            <a:schemeClr val="dk1"/>
                          </a:solidFill>
                          <a:effectLst/>
                          <a:latin typeface="+mn-lt"/>
                          <a:ea typeface="+mn-ea"/>
                          <a:cs typeface="+mn-cs"/>
                        </a:rPr>
                        <a:t>NESO proposes:</a:t>
                      </a:r>
                      <a:endParaRPr lang="en-GB" sz="1200" b="1"/>
                    </a:p>
                    <a:p>
                      <a:pPr marL="0" lvl="0" indent="0">
                        <a:lnSpc>
                          <a:spcPct val="150000"/>
                        </a:lnSpc>
                        <a:buNone/>
                      </a:pPr>
                      <a:r>
                        <a:rPr lang="en-GB" sz="1200" b="0" kern="1200">
                          <a:solidFill>
                            <a:schemeClr val="dk1"/>
                          </a:solidFill>
                          <a:effectLst/>
                          <a:latin typeface="+mn-lt"/>
                          <a:ea typeface="+mn-ea"/>
                          <a:cs typeface="+mn-cs"/>
                        </a:rPr>
                        <a:t>Gas Distribution Networks (GDNs) utilise RESP Pathways and RESP Consistent Planning Assumptions (CPAs) to model </a:t>
                      </a:r>
                      <a:r>
                        <a:rPr lang="en-GB" sz="1200" b="0" u="sng" kern="1200">
                          <a:solidFill>
                            <a:schemeClr val="dk1"/>
                          </a:solidFill>
                          <a:effectLst/>
                          <a:latin typeface="+mn-lt"/>
                          <a:ea typeface="+mn-ea"/>
                          <a:cs typeface="+mn-cs"/>
                        </a:rPr>
                        <a:t>peak gas demand</a:t>
                      </a:r>
                      <a:r>
                        <a:rPr lang="en-GB" sz="1200" b="0" u="none" kern="1200">
                          <a:solidFill>
                            <a:schemeClr val="dk1"/>
                          </a:solidFill>
                          <a:effectLst/>
                          <a:latin typeface="+mn-lt"/>
                          <a:ea typeface="+mn-ea"/>
                          <a:cs typeface="+mn-cs"/>
                        </a:rPr>
                        <a:t> (weather corrected)</a:t>
                      </a:r>
                      <a:r>
                        <a:rPr lang="en-GB" sz="1200" b="0" kern="1200">
                          <a:solidFill>
                            <a:schemeClr val="dk1"/>
                          </a:solidFill>
                          <a:effectLst/>
                          <a:latin typeface="+mn-lt"/>
                          <a:ea typeface="+mn-ea"/>
                          <a:cs typeface="+mn-cs"/>
                        </a:rPr>
                        <a:t> across their networks, supporting the proactive identification of system needs and acting as an input to specification of Strategic Investment Need.</a:t>
                      </a:r>
                      <a:endParaRPr lang="en-GB" sz="1200" b="0"/>
                    </a:p>
                  </a:txBody>
                  <a:tcPr anchor="ctr"/>
                </a:tc>
                <a:extLst>
                  <a:ext uri="{0D108BD9-81ED-4DB2-BD59-A6C34878D82A}">
                    <a16:rowId xmlns:a16="http://schemas.microsoft.com/office/drawing/2014/main" val="3117618813"/>
                  </a:ext>
                </a:extLst>
              </a:tr>
              <a:tr h="1509507">
                <a:tc>
                  <a:txBody>
                    <a:bodyPr/>
                    <a:lstStyle/>
                    <a:p>
                      <a:pPr algn="ctr"/>
                      <a:r>
                        <a:rPr lang="en-GB" sz="2800" b="1">
                          <a:solidFill>
                            <a:schemeClr val="accent3"/>
                          </a:solidFill>
                        </a:rPr>
                        <a:t>2</a:t>
                      </a:r>
                    </a:p>
                  </a:txBody>
                  <a:tcPr anchor="ctr">
                    <a:noFill/>
                  </a:tcPr>
                </a:tc>
                <a:tc>
                  <a:txBody>
                    <a:bodyPr/>
                    <a:lstStyle/>
                    <a:p>
                      <a:r>
                        <a:rPr lang="en-GB" sz="1400" b="0"/>
                        <a:t>Biomethane (Supply) </a:t>
                      </a:r>
                    </a:p>
                  </a:txBody>
                  <a:tcPr anchor="ctr"/>
                </a:tc>
                <a:tc>
                  <a:txBody>
                    <a:bodyPr/>
                    <a:lstStyle/>
                    <a:p>
                      <a:pPr marL="0" lvl="0" indent="0">
                        <a:lnSpc>
                          <a:spcPct val="150000"/>
                        </a:lnSpc>
                        <a:buNone/>
                      </a:pPr>
                      <a:r>
                        <a:rPr lang="en-GB" sz="1200" b="1" i="0" u="none" strike="noStrike" kern="1200" noProof="0">
                          <a:solidFill>
                            <a:schemeClr val="dk1"/>
                          </a:solidFill>
                          <a:effectLst/>
                          <a:latin typeface="Poppins"/>
                          <a:ea typeface="+mn-ea"/>
                          <a:cs typeface="Poppins"/>
                        </a:rPr>
                        <a:t>NESO proposes:</a:t>
                      </a:r>
                      <a:endParaRPr lang="en-US" sz="1200" b="1"/>
                    </a:p>
                    <a:p>
                      <a:pPr marL="0" lvl="0" indent="0">
                        <a:lnSpc>
                          <a:spcPct val="150000"/>
                        </a:lnSpc>
                        <a:buNone/>
                      </a:pPr>
                      <a:r>
                        <a:rPr lang="en-GB" sz="1200" kern="1200">
                          <a:solidFill>
                            <a:schemeClr val="dk1"/>
                          </a:solidFill>
                          <a:effectLst/>
                          <a:latin typeface="+mn-lt"/>
                          <a:ea typeface="+mn-ea"/>
                          <a:cs typeface="+mn-cs"/>
                        </a:rPr>
                        <a:t>GDNs </a:t>
                      </a:r>
                      <a:r>
                        <a:rPr lang="en-GB" sz="1200" b="0" i="0" u="none" strike="noStrike" kern="1200" noProof="0">
                          <a:solidFill>
                            <a:schemeClr val="dk1"/>
                          </a:solidFill>
                          <a:effectLst/>
                          <a:latin typeface="Poppins"/>
                          <a:ea typeface="+mn-ea"/>
                          <a:cs typeface="Poppins"/>
                        </a:rPr>
                        <a:t>utilise RESP Pathways and RESP CPAs to </a:t>
                      </a:r>
                      <a:r>
                        <a:rPr lang="en-GB" sz="1200" kern="1200">
                          <a:solidFill>
                            <a:schemeClr val="dk1"/>
                          </a:solidFill>
                          <a:effectLst/>
                          <a:latin typeface="+mn-lt"/>
                          <a:ea typeface="+mn-ea"/>
                          <a:cs typeface="+mn-cs"/>
                        </a:rPr>
                        <a:t>model the interaction between </a:t>
                      </a:r>
                      <a:r>
                        <a:rPr lang="en-GB" sz="1200" u="sng" kern="1200">
                          <a:solidFill>
                            <a:schemeClr val="dk1"/>
                          </a:solidFill>
                          <a:effectLst/>
                          <a:latin typeface="+mn-lt"/>
                          <a:ea typeface="+mn-ea"/>
                          <a:cs typeface="+mn-cs"/>
                        </a:rPr>
                        <a:t>projected biomethane supply</a:t>
                      </a:r>
                      <a:r>
                        <a:rPr lang="en-GB" sz="1200" kern="1200">
                          <a:solidFill>
                            <a:schemeClr val="dk1"/>
                          </a:solidFill>
                          <a:effectLst/>
                          <a:latin typeface="+mn-lt"/>
                          <a:ea typeface="+mn-ea"/>
                          <a:cs typeface="+mn-cs"/>
                        </a:rPr>
                        <a:t> and </a:t>
                      </a:r>
                      <a:r>
                        <a:rPr lang="en-GB" sz="1200" u="sng" kern="1200">
                          <a:solidFill>
                            <a:schemeClr val="dk1"/>
                          </a:solidFill>
                          <a:effectLst/>
                          <a:latin typeface="+mn-lt"/>
                          <a:ea typeface="+mn-ea"/>
                          <a:cs typeface="+mn-cs"/>
                        </a:rPr>
                        <a:t>periods of minimum demand</a:t>
                      </a:r>
                      <a:r>
                        <a:rPr lang="en-GB" sz="1200" kern="1200">
                          <a:solidFill>
                            <a:schemeClr val="dk1"/>
                          </a:solidFill>
                          <a:effectLst/>
                          <a:latin typeface="+mn-lt"/>
                          <a:ea typeface="+mn-ea"/>
                          <a:cs typeface="+mn-cs"/>
                        </a:rPr>
                        <a:t> across their networks, </a:t>
                      </a:r>
                      <a:r>
                        <a:rPr lang="en-GB" sz="1200" b="0" i="0" u="none" strike="noStrike" kern="1200" noProof="0">
                          <a:solidFill>
                            <a:schemeClr val="dk1"/>
                          </a:solidFill>
                          <a:effectLst/>
                          <a:latin typeface="Poppins"/>
                          <a:ea typeface="+mn-ea"/>
                          <a:cs typeface="Poppins"/>
                        </a:rPr>
                        <a:t>supporting the proactive identification of system needs and acting as an input to specification of Strategic Investment Need.</a:t>
                      </a:r>
                      <a:endParaRPr lang="en-GB" sz="1200"/>
                    </a:p>
                  </a:txBody>
                  <a:tcPr anchor="ctr"/>
                </a:tc>
                <a:extLst>
                  <a:ext uri="{0D108BD9-81ED-4DB2-BD59-A6C34878D82A}">
                    <a16:rowId xmlns:a16="http://schemas.microsoft.com/office/drawing/2014/main" val="180479354"/>
                  </a:ext>
                </a:extLst>
              </a:tr>
              <a:tr h="1509507">
                <a:tc>
                  <a:txBody>
                    <a:bodyPr/>
                    <a:lstStyle/>
                    <a:p>
                      <a:pPr algn="ctr"/>
                      <a:r>
                        <a:rPr lang="en-GB" sz="2800" b="1">
                          <a:solidFill>
                            <a:schemeClr val="accent3"/>
                          </a:solidFill>
                        </a:rPr>
                        <a:t>3</a:t>
                      </a:r>
                    </a:p>
                  </a:txBody>
                  <a:tcPr anchor="ctr">
                    <a:noFill/>
                  </a:tcPr>
                </a:tc>
                <a:tc>
                  <a:txBody>
                    <a:bodyPr/>
                    <a:lstStyle/>
                    <a:p>
                      <a:r>
                        <a:rPr lang="en-GB" sz="1400" b="0"/>
                        <a:t>Network Asset Granularity</a:t>
                      </a:r>
                    </a:p>
                  </a:txBody>
                  <a:tcPr anchor="ctr"/>
                </a:tc>
                <a:tc>
                  <a:txBody>
                    <a:bodyPr/>
                    <a:lstStyle/>
                    <a:p>
                      <a:pPr marL="0" indent="0">
                        <a:lnSpc>
                          <a:spcPct val="150000"/>
                        </a:lnSpc>
                        <a:buNone/>
                      </a:pPr>
                      <a:r>
                        <a:rPr lang="en-GB" sz="1200" b="1" i="0" u="none" strike="noStrike" noProof="0">
                          <a:solidFill>
                            <a:schemeClr val="dk1"/>
                          </a:solidFill>
                          <a:latin typeface="Poppins"/>
                          <a:cs typeface="Poppins"/>
                        </a:rPr>
                        <a:t>NESO proposes:</a:t>
                      </a:r>
                      <a:endParaRPr lang="en-US" sz="1200" b="1" i="0" u="none" strike="noStrike" noProof="0">
                        <a:solidFill>
                          <a:srgbClr val="000000"/>
                        </a:solidFill>
                        <a:latin typeface="Poppins"/>
                        <a:cs typeface="Poppins"/>
                      </a:endParaRPr>
                    </a:p>
                    <a:p>
                      <a:pPr marL="285750" lvl="0" indent="-285750">
                        <a:lnSpc>
                          <a:spcPct val="150000"/>
                        </a:lnSpc>
                        <a:buClr>
                          <a:srgbClr val="000000"/>
                        </a:buClr>
                        <a:buFont typeface="Arial" panose="020B0604020202020204" pitchFamily="34" charset="0"/>
                        <a:buChar char="•"/>
                      </a:pPr>
                      <a:r>
                        <a:rPr lang="en-GB" sz="1200" b="1" i="0" u="none" strike="noStrike" noProof="0">
                          <a:solidFill>
                            <a:schemeClr val="dk1"/>
                          </a:solidFill>
                          <a:latin typeface="Poppins"/>
                          <a:cs typeface="Poppins"/>
                        </a:rPr>
                        <a:t>For the Geographic View - </a:t>
                      </a:r>
                      <a:r>
                        <a:rPr lang="en-GB" sz="1200" b="0" i="0" u="none" strike="noStrike" noProof="0">
                          <a:solidFill>
                            <a:srgbClr val="000000"/>
                          </a:solidFill>
                          <a:latin typeface="Poppins"/>
                          <a:cs typeface="Poppins"/>
                        </a:rPr>
                        <a:t>Visualise </a:t>
                      </a:r>
                      <a:r>
                        <a:rPr lang="en-GB" sz="1200" b="0" i="0" u="none" strike="noStrike" noProof="0">
                          <a:solidFill>
                            <a:schemeClr val="dk1"/>
                          </a:solidFill>
                          <a:latin typeface="Poppins"/>
                          <a:cs typeface="Poppins"/>
                        </a:rPr>
                        <a:t>supply and demand related outputs for Spatial Context using the </a:t>
                      </a:r>
                      <a:r>
                        <a:rPr lang="en-GB" sz="1200" b="0" i="0" u="sng" strike="noStrike" noProof="0">
                          <a:solidFill>
                            <a:schemeClr val="dk1"/>
                          </a:solidFill>
                          <a:latin typeface="Poppins"/>
                          <a:cs typeface="Poppins"/>
                        </a:rPr>
                        <a:t>same granularity as RESP Pathways </a:t>
                      </a:r>
                      <a:r>
                        <a:rPr lang="en-GB" sz="1200" b="0" i="0" u="none" strike="noStrike" noProof="0">
                          <a:solidFill>
                            <a:schemeClr val="dk1"/>
                          </a:solidFill>
                          <a:latin typeface="Poppins"/>
                          <a:cs typeface="Poppins"/>
                        </a:rPr>
                        <a:t>outputs (LSOA/Data Zone/MSOA etc).</a:t>
                      </a:r>
                    </a:p>
                    <a:p>
                      <a:pPr marL="285750" lvl="0" indent="-285750">
                        <a:lnSpc>
                          <a:spcPct val="150000"/>
                        </a:lnSpc>
                        <a:buFont typeface="Arial" panose="020B0604020202020204" pitchFamily="34" charset="0"/>
                        <a:buChar char="•"/>
                      </a:pPr>
                      <a:r>
                        <a:rPr lang="en-GB" sz="1200" b="1" i="0" u="none" strike="noStrike" noProof="0">
                          <a:solidFill>
                            <a:schemeClr val="dk1"/>
                          </a:solidFill>
                          <a:latin typeface="Poppins"/>
                          <a:cs typeface="Poppins"/>
                        </a:rPr>
                        <a:t>For the Network Asset View - </a:t>
                      </a:r>
                      <a:r>
                        <a:rPr lang="en-GB" sz="1200"/>
                        <a:t>Visualise </a:t>
                      </a:r>
                      <a:r>
                        <a:rPr lang="en-GB" sz="1200" kern="1200">
                          <a:solidFill>
                            <a:schemeClr val="dk1"/>
                          </a:solidFill>
                          <a:effectLst/>
                          <a:latin typeface="+mn-lt"/>
                          <a:ea typeface="+mn-ea"/>
                          <a:cs typeface="+mn-cs"/>
                        </a:rPr>
                        <a:t>supply and demand related outputs for Spatial Context gas network within </a:t>
                      </a:r>
                      <a:r>
                        <a:rPr lang="en-GB" sz="1200" u="sng" kern="1200">
                          <a:solidFill>
                            <a:schemeClr val="dk1"/>
                          </a:solidFill>
                          <a:effectLst/>
                          <a:latin typeface="+mn-lt"/>
                          <a:ea typeface="+mn-ea"/>
                          <a:cs typeface="+mn-cs"/>
                        </a:rPr>
                        <a:t>Medium Pressure</a:t>
                      </a:r>
                      <a:r>
                        <a:rPr lang="en-GB" sz="1200" kern="1200">
                          <a:solidFill>
                            <a:schemeClr val="dk1"/>
                          </a:solidFill>
                          <a:effectLst/>
                          <a:latin typeface="+mn-lt"/>
                          <a:ea typeface="+mn-ea"/>
                          <a:cs typeface="+mn-cs"/>
                        </a:rPr>
                        <a:t> zones.</a:t>
                      </a:r>
                      <a:endParaRPr lang="en-GB" sz="1200"/>
                    </a:p>
                  </a:txBody>
                  <a:tcPr anchor="ctr"/>
                </a:tc>
                <a:extLst>
                  <a:ext uri="{0D108BD9-81ED-4DB2-BD59-A6C34878D82A}">
                    <a16:rowId xmlns:a16="http://schemas.microsoft.com/office/drawing/2014/main" val="3388592911"/>
                  </a:ext>
                </a:extLst>
              </a:tr>
            </a:tbl>
          </a:graphicData>
        </a:graphic>
      </p:graphicFrame>
      <p:sp>
        <p:nvSpPr>
          <p:cNvPr id="2" name="TextBox 1">
            <a:extLst>
              <a:ext uri="{FF2B5EF4-FFF2-40B4-BE49-F238E27FC236}">
                <a16:creationId xmlns:a16="http://schemas.microsoft.com/office/drawing/2014/main" id="{15A19017-AB1A-A338-6585-C2FF36435FE8}"/>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4198425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D67BB-5F2E-CF73-3394-DFCD7C09B9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4963D31-5937-DA5D-1786-0D968E88B0BB}"/>
              </a:ext>
            </a:extLst>
          </p:cNvPr>
          <p:cNvGraphicFramePr>
            <a:graphicFrameLocks noChangeAspect="1"/>
          </p:cNvGraphicFramePr>
          <p:nvPr>
            <p:custDataLst>
              <p:tags r:id="rId1"/>
            </p:custDataLst>
            <p:extLst>
              <p:ext uri="{D42A27DB-BD31-4B8C-83A1-F6EECF244321}">
                <p14:modId xmlns:p14="http://schemas.microsoft.com/office/powerpoint/2010/main" val="77536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64963D31-5937-DA5D-1786-0D968E88B0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2537CC0-CD7C-9546-41E2-9EE301ADCFCD}"/>
              </a:ext>
            </a:extLst>
          </p:cNvPr>
          <p:cNvSpPr/>
          <p:nvPr/>
        </p:nvSpPr>
        <p:spPr>
          <a:xfrm>
            <a:off x="627627" y="956194"/>
            <a:ext cx="11120605" cy="601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91440" bIns="45720" rtlCol="0" anchor="t"/>
          <a:lstStyle/>
          <a:p>
            <a:r>
              <a:rPr lang="en-US">
                <a:solidFill>
                  <a:schemeClr val="tx2"/>
                </a:solidFill>
                <a:cs typeface="Poppins"/>
              </a:rPr>
              <a:t>The below diagram sets out an indicative process flow for coordinating data between NESO and GDNs for the purposes of developing Spatial Context.</a:t>
            </a:r>
          </a:p>
        </p:txBody>
      </p:sp>
      <p:pic>
        <p:nvPicPr>
          <p:cNvPr id="5" name="Picture 4" descr="A diagram of a system&#10;&#10;AI-generated content may be incorrect.">
            <a:extLst>
              <a:ext uri="{FF2B5EF4-FFF2-40B4-BE49-F238E27FC236}">
                <a16:creationId xmlns:a16="http://schemas.microsoft.com/office/drawing/2014/main" id="{5FD27CAB-23E9-0C05-62D3-693D150960BC}"/>
              </a:ext>
            </a:extLst>
          </p:cNvPr>
          <p:cNvPicPr>
            <a:picLocks noChangeAspect="1"/>
          </p:cNvPicPr>
          <p:nvPr/>
        </p:nvPicPr>
        <p:blipFill>
          <a:blip r:embed="rId5"/>
          <a:srcRect r="460"/>
          <a:stretch/>
        </p:blipFill>
        <p:spPr>
          <a:xfrm>
            <a:off x="172487" y="2439419"/>
            <a:ext cx="11847025" cy="2221211"/>
          </a:xfrm>
          <a:prstGeom prst="rect">
            <a:avLst/>
          </a:prstGeom>
          <a:ln w="38100">
            <a:noFill/>
          </a:ln>
        </p:spPr>
      </p:pic>
      <p:sp>
        <p:nvSpPr>
          <p:cNvPr id="8" name="Title 1">
            <a:extLst>
              <a:ext uri="{FF2B5EF4-FFF2-40B4-BE49-F238E27FC236}">
                <a16:creationId xmlns:a16="http://schemas.microsoft.com/office/drawing/2014/main" id="{42D44F10-520C-8D3C-6CE0-54E026741AF3}"/>
              </a:ext>
            </a:extLst>
          </p:cNvPr>
          <p:cNvSpPr txBox="1">
            <a:spLocks/>
          </p:cNvSpPr>
          <p:nvPr/>
        </p:nvSpPr>
        <p:spPr>
          <a:xfrm>
            <a:off x="637273" y="365126"/>
            <a:ext cx="10515600" cy="621194"/>
          </a:xfrm>
          <a:prstGeom prst="rect">
            <a:avLst/>
          </a:prstGeom>
        </p:spPr>
        <p:txBody>
          <a:bodyPr vert="horz" lIns="0" tIns="45720" rIns="91440" bIns="45720" rtlCol="0" anchor="ctr">
            <a:normAutofit/>
          </a:bodyPr>
          <a:lstStyle>
            <a:lvl1pPr algn="l" defTabSz="914400" rtl="0" eaLnBrk="1" latinLnBrk="0" hangingPunct="1">
              <a:lnSpc>
                <a:spcPct val="100000"/>
              </a:lnSpc>
              <a:spcBef>
                <a:spcPct val="0"/>
              </a:spcBef>
              <a:buNone/>
              <a:defRPr sz="4400" b="1" i="0" kern="1200">
                <a:solidFill>
                  <a:schemeClr val="accent1"/>
                </a:solidFill>
                <a:latin typeface="+mj-lt"/>
                <a:ea typeface="+mj-ea"/>
                <a:cs typeface="Poppins" panose="00000500000000000000" pitchFamily="2" charset="0"/>
              </a:defRPr>
            </a:lvl1pPr>
          </a:lstStyle>
          <a:p>
            <a:r>
              <a:rPr lang="en-GB" sz="3200">
                <a:solidFill>
                  <a:schemeClr val="tx2"/>
                </a:solidFill>
                <a:cs typeface="Poppins"/>
              </a:rPr>
              <a:t>Areas of Further Work </a:t>
            </a:r>
            <a:endParaRPr lang="en-GB" sz="3200">
              <a:solidFill>
                <a:schemeClr val="tx2"/>
              </a:solidFill>
              <a:latin typeface="Poppins" pitchFamily="2" charset="77"/>
              <a:cs typeface="Poppins" pitchFamily="2" charset="77"/>
            </a:endParaRPr>
          </a:p>
        </p:txBody>
      </p:sp>
      <p:sp>
        <p:nvSpPr>
          <p:cNvPr id="369" name="TextBox 368">
            <a:extLst>
              <a:ext uri="{FF2B5EF4-FFF2-40B4-BE49-F238E27FC236}">
                <a16:creationId xmlns:a16="http://schemas.microsoft.com/office/drawing/2014/main" id="{30083BA8-45E8-59A8-B054-AB61B5A38D28}"/>
              </a:ext>
            </a:extLst>
          </p:cNvPr>
          <p:cNvSpPr txBox="1"/>
          <p:nvPr/>
        </p:nvSpPr>
        <p:spPr>
          <a:xfrm>
            <a:off x="454238" y="4853399"/>
            <a:ext cx="11293994" cy="738664"/>
          </a:xfrm>
          <a:prstGeom prst="rect">
            <a:avLst/>
          </a:prstGeom>
          <a:solidFill>
            <a:schemeClr val="accent3">
              <a:lumMod val="20000"/>
              <a:lumOff val="80000"/>
            </a:schemeClr>
          </a:solidFill>
        </p:spPr>
        <p:txBody>
          <a:bodyPr wrap="square">
            <a:spAutoFit/>
          </a:bodyPr>
          <a:lstStyle/>
          <a:p>
            <a:pPr algn="just"/>
            <a:r>
              <a:rPr lang="en-GB" sz="1400" kern="100">
                <a:latin typeface="Poppins"/>
                <a:ea typeface="Arial" panose="020B0604020202020204" pitchFamily="34" charset="0"/>
                <a:cs typeface="Arial"/>
              </a:rPr>
              <a:t>NESO’s proposed approach has been developed to support the identification of </a:t>
            </a:r>
            <a:r>
              <a:rPr lang="en-GB" sz="1400" b="1" kern="100">
                <a:latin typeface="Poppins"/>
                <a:ea typeface="Arial" panose="020B0604020202020204" pitchFamily="34" charset="0"/>
                <a:cs typeface="Arial"/>
              </a:rPr>
              <a:t>system needs </a:t>
            </a:r>
            <a:r>
              <a:rPr lang="en-GB" sz="1400" kern="100">
                <a:latin typeface="Poppins"/>
                <a:ea typeface="Arial" panose="020B0604020202020204" pitchFamily="34" charset="0"/>
                <a:cs typeface="Arial"/>
              </a:rPr>
              <a:t>where proactive intervention may be required and to act as an input into </a:t>
            </a:r>
            <a:r>
              <a:rPr lang="en-GB" sz="1400" b="1" kern="100">
                <a:effectLst/>
                <a:latin typeface="Poppins"/>
                <a:ea typeface="Arial" panose="020B0604020202020204" pitchFamily="34" charset="0"/>
                <a:cs typeface="Arial"/>
              </a:rPr>
              <a:t>the identification of </a:t>
            </a:r>
            <a:r>
              <a:rPr lang="en-GB" sz="1400" b="1" kern="100">
                <a:latin typeface="Poppins"/>
                <a:ea typeface="Arial" panose="020B0604020202020204" pitchFamily="34" charset="0"/>
                <a:cs typeface="Arial"/>
              </a:rPr>
              <a:t>Strategic</a:t>
            </a:r>
            <a:r>
              <a:rPr lang="en-GB" sz="1400" b="1" kern="100">
                <a:effectLst/>
                <a:latin typeface="Poppins"/>
                <a:ea typeface="Arial" panose="020B0604020202020204" pitchFamily="34" charset="0"/>
                <a:cs typeface="Arial"/>
              </a:rPr>
              <a:t> </a:t>
            </a:r>
            <a:r>
              <a:rPr lang="en-GB" sz="1400" b="1" kern="100">
                <a:latin typeface="Poppins"/>
                <a:ea typeface="Arial" panose="020B0604020202020204" pitchFamily="34" charset="0"/>
                <a:cs typeface="Arial"/>
              </a:rPr>
              <a:t>Investment</a:t>
            </a:r>
            <a:r>
              <a:rPr lang="en-GB" sz="1400" b="1" kern="100">
                <a:effectLst/>
                <a:latin typeface="Poppins"/>
                <a:ea typeface="Arial" panose="020B0604020202020204" pitchFamily="34" charset="0"/>
                <a:cs typeface="Arial"/>
              </a:rPr>
              <a:t> </a:t>
            </a:r>
            <a:r>
              <a:rPr lang="en-GB" sz="1400" b="1" kern="100">
                <a:latin typeface="Poppins"/>
                <a:ea typeface="Arial" panose="020B0604020202020204" pitchFamily="34" charset="0"/>
                <a:cs typeface="Arial"/>
              </a:rPr>
              <a:t>Needs</a:t>
            </a:r>
            <a:r>
              <a:rPr lang="en-GB" sz="1400" b="1" kern="100">
                <a:effectLst/>
                <a:latin typeface="Poppins"/>
                <a:ea typeface="Arial" panose="020B0604020202020204" pitchFamily="34" charset="0"/>
                <a:cs typeface="Arial"/>
              </a:rPr>
              <a:t> </a:t>
            </a:r>
            <a:r>
              <a:rPr lang="en-GB" sz="1400" kern="100">
                <a:effectLst/>
                <a:latin typeface="Poppins"/>
                <a:ea typeface="Arial" panose="020B0604020202020204" pitchFamily="34" charset="0"/>
                <a:cs typeface="Arial"/>
              </a:rPr>
              <a:t>across the gas distribution networks</a:t>
            </a:r>
            <a:endParaRPr lang="en-GB" sz="1400"/>
          </a:p>
        </p:txBody>
      </p:sp>
      <p:sp>
        <p:nvSpPr>
          <p:cNvPr id="2" name="TextBox 1">
            <a:extLst>
              <a:ext uri="{FF2B5EF4-FFF2-40B4-BE49-F238E27FC236}">
                <a16:creationId xmlns:a16="http://schemas.microsoft.com/office/drawing/2014/main" id="{823F44C1-0C60-8CDC-E39D-9281B560F793}"/>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2332189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3E16B-D31D-B5BF-A273-00D172B588E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EADB27C-2EC3-5460-F3A9-637988375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9" name="think-cell data - do not delete" hidden="1">
                        <a:extLst>
                          <a:ext uri="{FF2B5EF4-FFF2-40B4-BE49-F238E27FC236}">
                            <a16:creationId xmlns:a16="http://schemas.microsoft.com/office/drawing/2014/main" id="{5EADB27C-2EC3-5460-F3A9-637988375F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D5B2C903-74A0-76CD-CACF-A1C453615A3C}"/>
              </a:ext>
            </a:extLst>
          </p:cNvPr>
          <p:cNvSpPr/>
          <p:nvPr/>
        </p:nvSpPr>
        <p:spPr>
          <a:xfrm>
            <a:off x="10100684" y="5717866"/>
            <a:ext cx="1797977" cy="888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34CFC359-6FA6-EB7E-E042-DFDC0D2703CE}"/>
              </a:ext>
            </a:extLst>
          </p:cNvPr>
          <p:cNvSpPr>
            <a:spLocks noGrp="1"/>
          </p:cNvSpPr>
          <p:nvPr>
            <p:ph type="title"/>
          </p:nvPr>
        </p:nvSpPr>
        <p:spPr>
          <a:xfrm>
            <a:off x="637273" y="365126"/>
            <a:ext cx="10515600" cy="621194"/>
          </a:xfrm>
        </p:spPr>
        <p:txBody>
          <a:bodyPr vert="horz" lIns="0">
            <a:normAutofit/>
          </a:bodyPr>
          <a:lstStyle/>
          <a:p>
            <a:r>
              <a:rPr lang="en-GB" sz="3200" noProof="0">
                <a:solidFill>
                  <a:schemeClr val="tx2"/>
                </a:solidFill>
                <a:latin typeface="Poppins" pitchFamily="2" charset="77"/>
                <a:cs typeface="Poppins" pitchFamily="2" charset="77"/>
              </a:rPr>
              <a:t>Gas </a:t>
            </a:r>
            <a:r>
              <a:rPr lang="en-GB" sz="3200" b="0" i="1" noProof="0">
                <a:solidFill>
                  <a:schemeClr val="tx2"/>
                </a:solidFill>
                <a:latin typeface="Poppins" pitchFamily="2" charset="77"/>
                <a:cs typeface="Poppins" pitchFamily="2" charset="77"/>
              </a:rPr>
              <a:t>(Demand)</a:t>
            </a:r>
          </a:p>
        </p:txBody>
      </p:sp>
      <p:sp>
        <p:nvSpPr>
          <p:cNvPr id="21" name="Rectangle 20">
            <a:extLst>
              <a:ext uri="{FF2B5EF4-FFF2-40B4-BE49-F238E27FC236}">
                <a16:creationId xmlns:a16="http://schemas.microsoft.com/office/drawing/2014/main" id="{80D90604-D07A-07C5-F64A-A30338551C65}"/>
              </a:ext>
            </a:extLst>
          </p:cNvPr>
          <p:cNvSpPr/>
          <p:nvPr/>
        </p:nvSpPr>
        <p:spPr>
          <a:xfrm>
            <a:off x="637273" y="993628"/>
            <a:ext cx="10745118" cy="639337"/>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45720" rIns="91440" bIns="45720" rtlCol="0" anchor="t"/>
          <a:lstStyle/>
          <a:p>
            <a:r>
              <a:rPr lang="en-US" noProof="0">
                <a:solidFill>
                  <a:schemeClr val="tx2"/>
                </a:solidFill>
                <a:latin typeface="Poppins"/>
                <a:cs typeface="Poppins"/>
              </a:rPr>
              <a:t>For </a:t>
            </a:r>
            <a:r>
              <a:rPr lang="en-US">
                <a:solidFill>
                  <a:schemeClr val="tx2"/>
                </a:solidFill>
                <a:latin typeface="Poppins"/>
                <a:cs typeface="Poppins"/>
              </a:rPr>
              <a:t>gas demand, RESP Spatial Context will focus on </a:t>
            </a:r>
            <a:r>
              <a:rPr lang="en-GB">
                <a:solidFill>
                  <a:schemeClr val="tx2"/>
                </a:solidFill>
                <a:latin typeface="Poppins"/>
                <a:cs typeface="Poppins"/>
              </a:rPr>
              <a:t>modelling </a:t>
            </a:r>
            <a:r>
              <a:rPr lang="en-GB" b="1" u="sng">
                <a:solidFill>
                  <a:schemeClr val="accent3">
                    <a:lumMod val="60000"/>
                    <a:lumOff val="40000"/>
                  </a:schemeClr>
                </a:solidFill>
                <a:latin typeface="Poppins"/>
                <a:cs typeface="Poppins"/>
              </a:rPr>
              <a:t>peak gas demand</a:t>
            </a:r>
            <a:r>
              <a:rPr lang="en-GB">
                <a:solidFill>
                  <a:schemeClr val="tx2"/>
                </a:solidFill>
                <a:latin typeface="Poppins"/>
                <a:cs typeface="Poppins"/>
              </a:rPr>
              <a:t> across the gas distribution networks</a:t>
            </a:r>
            <a:endParaRPr lang="en-US">
              <a:solidFill>
                <a:schemeClr val="tx2"/>
              </a:solidFill>
              <a:latin typeface="Poppins"/>
              <a:cs typeface="Poppins"/>
            </a:endParaRPr>
          </a:p>
        </p:txBody>
      </p:sp>
      <p:sp>
        <p:nvSpPr>
          <p:cNvPr id="16" name="TextBox 15">
            <a:extLst>
              <a:ext uri="{FF2B5EF4-FFF2-40B4-BE49-F238E27FC236}">
                <a16:creationId xmlns:a16="http://schemas.microsoft.com/office/drawing/2014/main" id="{E7472A0D-0159-7E32-0EA6-246010752832}"/>
              </a:ext>
            </a:extLst>
          </p:cNvPr>
          <p:cNvSpPr txBox="1"/>
          <p:nvPr/>
        </p:nvSpPr>
        <p:spPr>
          <a:xfrm>
            <a:off x="1157365" y="2007553"/>
            <a:ext cx="10557310" cy="1084015"/>
          </a:xfrm>
          <a:prstGeom prst="rect">
            <a:avLst/>
          </a:prstGeom>
          <a:noFill/>
        </p:spPr>
        <p:txBody>
          <a:bodyPr wrap="square" lIns="91440" tIns="45720" rIns="91440" bIns="45720" rtlCol="0" anchor="t">
            <a:spAutoFit/>
          </a:bodyPr>
          <a:lstStyle/>
          <a:p>
            <a:pPr marL="171450" indent="-171450">
              <a:lnSpc>
                <a:spcPct val="150000"/>
              </a:lnSpc>
              <a:buFont typeface="Arial" panose="020B0604020202020204" pitchFamily="34" charset="0"/>
              <a:buChar char="•"/>
            </a:pPr>
            <a:r>
              <a:rPr lang="en-US" sz="1100">
                <a:latin typeface="+mj-lt"/>
              </a:rPr>
              <a:t>NESO’s</a:t>
            </a:r>
            <a:r>
              <a:rPr lang="en-US" sz="1100" b="1">
                <a:latin typeface="+mj-lt"/>
              </a:rPr>
              <a:t> </a:t>
            </a:r>
            <a:r>
              <a:rPr lang="en-US" sz="1100">
                <a:latin typeface="+mj-lt"/>
              </a:rPr>
              <a:t>initial approach focused on mapping future gas demand across all gas distribution networks to provide a spatial view of how gas demand could change over time.</a:t>
            </a:r>
          </a:p>
          <a:p>
            <a:pPr marL="171450" indent="-171450">
              <a:lnSpc>
                <a:spcPct val="150000"/>
              </a:lnSpc>
              <a:buFont typeface="Arial" panose="020B0604020202020204" pitchFamily="34" charset="0"/>
              <a:buChar char="•"/>
            </a:pPr>
            <a:r>
              <a:rPr lang="en-US" sz="1100">
                <a:latin typeface="+mj-lt"/>
              </a:rPr>
              <a:t>Many stakeholders commented that whilst this view was welcomed, the detail provided within the draft Methodology was limited, making it hard to conclude how this would work in practice and how its value would be assessed.</a:t>
            </a:r>
            <a:endParaRPr lang="en-GB" sz="1100">
              <a:latin typeface="+mj-lt"/>
            </a:endParaRPr>
          </a:p>
        </p:txBody>
      </p:sp>
      <p:sp>
        <p:nvSpPr>
          <p:cNvPr id="3" name="TextBox 2">
            <a:extLst>
              <a:ext uri="{FF2B5EF4-FFF2-40B4-BE49-F238E27FC236}">
                <a16:creationId xmlns:a16="http://schemas.microsoft.com/office/drawing/2014/main" id="{89EB8C06-180F-1F05-5B3B-A9128585785F}"/>
              </a:ext>
            </a:extLst>
          </p:cNvPr>
          <p:cNvSpPr txBox="1"/>
          <p:nvPr/>
        </p:nvSpPr>
        <p:spPr>
          <a:xfrm>
            <a:off x="1157365" y="1722607"/>
            <a:ext cx="2912258" cy="307777"/>
          </a:xfrm>
          <a:prstGeom prst="rect">
            <a:avLst/>
          </a:prstGeom>
          <a:noFill/>
        </p:spPr>
        <p:txBody>
          <a:bodyPr wrap="square" rtlCol="0">
            <a:spAutoFit/>
          </a:bodyPr>
          <a:lstStyle/>
          <a:p>
            <a:r>
              <a:rPr lang="en-GB" sz="1400" b="1">
                <a:solidFill>
                  <a:schemeClr val="accent3"/>
                </a:solidFill>
              </a:rPr>
              <a:t>What we heard:  </a:t>
            </a:r>
          </a:p>
        </p:txBody>
      </p:sp>
      <p:sp>
        <p:nvSpPr>
          <p:cNvPr id="4" name="TextBox 3">
            <a:extLst>
              <a:ext uri="{FF2B5EF4-FFF2-40B4-BE49-F238E27FC236}">
                <a16:creationId xmlns:a16="http://schemas.microsoft.com/office/drawing/2014/main" id="{3DC2ACF0-063F-E776-52CF-01DB6DEB69DA}"/>
              </a:ext>
            </a:extLst>
          </p:cNvPr>
          <p:cNvSpPr txBox="1"/>
          <p:nvPr/>
        </p:nvSpPr>
        <p:spPr>
          <a:xfrm>
            <a:off x="1157365" y="3063641"/>
            <a:ext cx="2912258" cy="307777"/>
          </a:xfrm>
          <a:prstGeom prst="rect">
            <a:avLst/>
          </a:prstGeom>
          <a:noFill/>
        </p:spPr>
        <p:txBody>
          <a:bodyPr wrap="square" rtlCol="0">
            <a:spAutoFit/>
          </a:bodyPr>
          <a:lstStyle/>
          <a:p>
            <a:r>
              <a:rPr lang="en-GB" sz="1400" b="1">
                <a:solidFill>
                  <a:schemeClr val="accent1"/>
                </a:solidFill>
              </a:rPr>
              <a:t>NESO Proposes: </a:t>
            </a:r>
          </a:p>
        </p:txBody>
      </p:sp>
      <p:pic>
        <p:nvPicPr>
          <p:cNvPr id="7" name="Graphic 6" descr="Lightbulb with solid fill">
            <a:extLst>
              <a:ext uri="{FF2B5EF4-FFF2-40B4-BE49-F238E27FC236}">
                <a16:creationId xmlns:a16="http://schemas.microsoft.com/office/drawing/2014/main" id="{B93A14D0-3AF5-E978-43E5-EBC8A412B3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3985" y="2988929"/>
            <a:ext cx="457200" cy="457200"/>
          </a:xfrm>
          <a:prstGeom prst="rect">
            <a:avLst/>
          </a:prstGeom>
        </p:spPr>
      </p:pic>
      <p:pic>
        <p:nvPicPr>
          <p:cNvPr id="10" name="Graphic 9" descr="Megaphone with solid fill">
            <a:extLst>
              <a:ext uri="{FF2B5EF4-FFF2-40B4-BE49-F238E27FC236}">
                <a16:creationId xmlns:a16="http://schemas.microsoft.com/office/drawing/2014/main" id="{9CBD3FEB-A297-FFF2-E84B-80F3F6D269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3985" y="1647895"/>
            <a:ext cx="457200" cy="457200"/>
          </a:xfrm>
          <a:prstGeom prst="rect">
            <a:avLst/>
          </a:prstGeom>
        </p:spPr>
      </p:pic>
      <p:pic>
        <p:nvPicPr>
          <p:cNvPr id="218" name="Picture 217" descr="Pipeline Icon Images – Browse 100,131 Stock Photos, Vectors, and Video |  Adobe Stock">
            <a:extLst>
              <a:ext uri="{FF2B5EF4-FFF2-40B4-BE49-F238E27FC236}">
                <a16:creationId xmlns:a16="http://schemas.microsoft.com/office/drawing/2014/main" id="{46555B95-5130-A855-854A-2B2293262D1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3572" b="57095"/>
          <a:stretch/>
        </p:blipFill>
        <p:spPr bwMode="auto">
          <a:xfrm>
            <a:off x="2465086" y="4143754"/>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4" descr="Pipeline Icon Images – Browse 100,131 Stock Photos, Vectors, and Video |  Adobe Stock">
            <a:extLst>
              <a:ext uri="{FF2B5EF4-FFF2-40B4-BE49-F238E27FC236}">
                <a16:creationId xmlns:a16="http://schemas.microsoft.com/office/drawing/2014/main" id="{E1BE3EE4-FC2C-508E-75F4-31B645AB05A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3572" b="57095"/>
          <a:stretch/>
        </p:blipFill>
        <p:spPr bwMode="auto">
          <a:xfrm>
            <a:off x="4758992" y="4153212"/>
            <a:ext cx="853892" cy="866280"/>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4" descr="Pipeline Icon Images – Browse 100,131 Stock Photos, Vectors, and Video |  Adobe Stock">
            <a:extLst>
              <a:ext uri="{FF2B5EF4-FFF2-40B4-BE49-F238E27FC236}">
                <a16:creationId xmlns:a16="http://schemas.microsoft.com/office/drawing/2014/main" id="{722E540F-116A-271D-118C-8BE6F3277A7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8320504" y="4759957"/>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22" name="Picture 4" descr="Pipeline Icon Images – Browse 100,131 Stock Photos, Vectors, and Video |  Adobe Stock">
            <a:extLst>
              <a:ext uri="{FF2B5EF4-FFF2-40B4-BE49-F238E27FC236}">
                <a16:creationId xmlns:a16="http://schemas.microsoft.com/office/drawing/2014/main" id="{E31939DE-7670-CA18-7092-A7D63DD722C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7576278" y="4145614"/>
            <a:ext cx="748348" cy="866280"/>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4" descr="Pipeline Icon Images – Browse 100,131 Stock Photos, Vectors, and Video |  Adobe Stock">
            <a:extLst>
              <a:ext uri="{FF2B5EF4-FFF2-40B4-BE49-F238E27FC236}">
                <a16:creationId xmlns:a16="http://schemas.microsoft.com/office/drawing/2014/main" id="{E8621BFC-5127-763D-844F-1586253792B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351642" y="4627018"/>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24" name="Picture 4" descr="Pipeline Icon Images – Browse 100,131 Stock Photos, Vectors, and Video |  Adobe Stock">
            <a:extLst>
              <a:ext uri="{FF2B5EF4-FFF2-40B4-BE49-F238E27FC236}">
                <a16:creationId xmlns:a16="http://schemas.microsoft.com/office/drawing/2014/main" id="{B1EB4A7E-CAA1-A85E-5DEC-A7DCFCE4E6D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8415830" y="4981958"/>
            <a:ext cx="254966" cy="256195"/>
          </a:xfrm>
          <a:prstGeom prst="rect">
            <a:avLst/>
          </a:prstGeom>
          <a:extLst>
            <a:ext uri="{909E8E84-426E-40DD-AFC4-6F175D3DCCD1}">
              <a14:hiddenFill xmlns:a14="http://schemas.microsoft.com/office/drawing/2010/main">
                <a:solidFill>
                  <a:srgbClr val="FFFFFF"/>
                </a:solidFill>
              </a14:hiddenFill>
            </a:ext>
          </a:extLst>
        </p:spPr>
      </p:pic>
      <p:pic>
        <p:nvPicPr>
          <p:cNvPr id="225" name="Picture 4" descr="Pipeline Icon Images – Browse 100,131 Stock Photos, Vectors, and Video |  Adobe Stock">
            <a:extLst>
              <a:ext uri="{FF2B5EF4-FFF2-40B4-BE49-F238E27FC236}">
                <a16:creationId xmlns:a16="http://schemas.microsoft.com/office/drawing/2014/main" id="{8B86ACA7-179D-B875-D258-FFF81C3FFFF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637392" y="5071183"/>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26" name="Picture 4" descr="Pipeline Icon Images – Browse 100,131 Stock Photos, Vectors, and Video |  Adobe Stock">
            <a:extLst>
              <a:ext uri="{FF2B5EF4-FFF2-40B4-BE49-F238E27FC236}">
                <a16:creationId xmlns:a16="http://schemas.microsoft.com/office/drawing/2014/main" id="{F0D884D1-DD36-4034-8F81-276F528E9A2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989818" y="5071183"/>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27" name="Picture 4" descr="Pipeline Icon Images – Browse 100,131 Stock Photos, Vectors, and Video |  Adobe Stock">
            <a:extLst>
              <a:ext uri="{FF2B5EF4-FFF2-40B4-BE49-F238E27FC236}">
                <a16:creationId xmlns:a16="http://schemas.microsoft.com/office/drawing/2014/main" id="{CD552B0D-CFB8-FF0A-AB98-827F3E8007D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8704046" y="4627018"/>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28" name="Picture 4" descr="Pipeline Icon Images – Browse 100,131 Stock Photos, Vectors, and Video |  Adobe Stock">
            <a:extLst>
              <a:ext uri="{FF2B5EF4-FFF2-40B4-BE49-F238E27FC236}">
                <a16:creationId xmlns:a16="http://schemas.microsoft.com/office/drawing/2014/main" id="{8FD99FA4-5C70-0D39-641D-FEB8601DAC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9053275" y="4624970"/>
            <a:ext cx="376711" cy="153380"/>
          </a:xfrm>
          <a:prstGeom prst="rect">
            <a:avLst/>
          </a:prstGeom>
          <a:extLst>
            <a:ext uri="{909E8E84-426E-40DD-AFC4-6F175D3DCCD1}">
              <a14:hiddenFill xmlns:a14="http://schemas.microsoft.com/office/drawing/2010/main">
                <a:solidFill>
                  <a:srgbClr val="FFFFFF"/>
                </a:solidFill>
              </a14:hiddenFill>
            </a:ext>
          </a:extLst>
        </p:spPr>
      </p:pic>
      <p:pic>
        <p:nvPicPr>
          <p:cNvPr id="229" name="Picture 4" descr="Pipeline Icon Images – Browse 100,131 Stock Photos, Vectors, and Video |  Adobe Stock">
            <a:extLst>
              <a:ext uri="{FF2B5EF4-FFF2-40B4-BE49-F238E27FC236}">
                <a16:creationId xmlns:a16="http://schemas.microsoft.com/office/drawing/2014/main" id="{B3F46F2F-2EA9-1344-98EE-D0314E4F322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9455299" y="4488011"/>
            <a:ext cx="259346" cy="300216"/>
          </a:xfrm>
          <a:prstGeom prst="rect">
            <a:avLst/>
          </a:prstGeom>
          <a:extLst>
            <a:ext uri="{909E8E84-426E-40DD-AFC4-6F175D3DCCD1}">
              <a14:hiddenFill xmlns:a14="http://schemas.microsoft.com/office/drawing/2010/main">
                <a:solidFill>
                  <a:srgbClr val="FFFFFF"/>
                </a:solidFill>
              </a14:hiddenFill>
            </a:ext>
          </a:extLst>
        </p:spPr>
      </p:pic>
      <p:grpSp>
        <p:nvGrpSpPr>
          <p:cNvPr id="230" name="Group 229">
            <a:extLst>
              <a:ext uri="{FF2B5EF4-FFF2-40B4-BE49-F238E27FC236}">
                <a16:creationId xmlns:a16="http://schemas.microsoft.com/office/drawing/2014/main" id="{83032C67-D29A-9305-C811-7EA9276C02B0}"/>
              </a:ext>
            </a:extLst>
          </p:cNvPr>
          <p:cNvGrpSpPr/>
          <p:nvPr/>
        </p:nvGrpSpPr>
        <p:grpSpPr>
          <a:xfrm>
            <a:off x="9719022" y="4700095"/>
            <a:ext cx="136759" cy="186694"/>
            <a:chOff x="6098836" y="2071903"/>
            <a:chExt cx="350292" cy="478196"/>
          </a:xfrm>
          <a:solidFill>
            <a:srgbClr val="FF0000"/>
          </a:solidFill>
        </p:grpSpPr>
        <p:pic>
          <p:nvPicPr>
            <p:cNvPr id="231" name="Picture 4" descr="Pipeline Icon Images – Browse 100,131 Stock Photos, Vectors, and Video |  Adobe Stock">
              <a:extLst>
                <a:ext uri="{FF2B5EF4-FFF2-40B4-BE49-F238E27FC236}">
                  <a16:creationId xmlns:a16="http://schemas.microsoft.com/office/drawing/2014/main" id="{F020EF5D-1DD9-863D-46EF-C4F899769C9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32" name="Picture 4" descr="Pipeline Icon Images – Browse 100,131 Stock Photos, Vectors, and Video |  Adobe Stock">
              <a:extLst>
                <a:ext uri="{FF2B5EF4-FFF2-40B4-BE49-F238E27FC236}">
                  <a16:creationId xmlns:a16="http://schemas.microsoft.com/office/drawing/2014/main" id="{8846A5E9-C32B-8BE5-FD1C-E2CC638C0C8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33" name="Group 232">
            <a:extLst>
              <a:ext uri="{FF2B5EF4-FFF2-40B4-BE49-F238E27FC236}">
                <a16:creationId xmlns:a16="http://schemas.microsoft.com/office/drawing/2014/main" id="{79D6F82B-2C7D-E177-EC0D-76A8BC7FF503}"/>
              </a:ext>
            </a:extLst>
          </p:cNvPr>
          <p:cNvGrpSpPr/>
          <p:nvPr/>
        </p:nvGrpSpPr>
        <p:grpSpPr>
          <a:xfrm flipV="1">
            <a:off x="9720758" y="4522009"/>
            <a:ext cx="135005" cy="184300"/>
            <a:chOff x="6098836" y="2071903"/>
            <a:chExt cx="350292" cy="478196"/>
          </a:xfrm>
          <a:solidFill>
            <a:srgbClr val="FF0000"/>
          </a:solidFill>
        </p:grpSpPr>
        <p:pic>
          <p:nvPicPr>
            <p:cNvPr id="234" name="Picture 4" descr="Pipeline Icon Images – Browse 100,131 Stock Photos, Vectors, and Video |  Adobe Stock">
              <a:extLst>
                <a:ext uri="{FF2B5EF4-FFF2-40B4-BE49-F238E27FC236}">
                  <a16:creationId xmlns:a16="http://schemas.microsoft.com/office/drawing/2014/main" id="{D25A1328-DB84-C5A7-7DAA-99B75141C53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35" name="Picture 4" descr="Pipeline Icon Images – Browse 100,131 Stock Photos, Vectors, and Video |  Adobe Stock">
              <a:extLst>
                <a:ext uri="{FF2B5EF4-FFF2-40B4-BE49-F238E27FC236}">
                  <a16:creationId xmlns:a16="http://schemas.microsoft.com/office/drawing/2014/main" id="{D425E83F-EBA1-198D-969E-B71836B8E57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36" name="Group 235">
            <a:extLst>
              <a:ext uri="{FF2B5EF4-FFF2-40B4-BE49-F238E27FC236}">
                <a16:creationId xmlns:a16="http://schemas.microsoft.com/office/drawing/2014/main" id="{C201976F-C345-E7CA-5003-69E1CAD25D34}"/>
              </a:ext>
            </a:extLst>
          </p:cNvPr>
          <p:cNvGrpSpPr/>
          <p:nvPr/>
        </p:nvGrpSpPr>
        <p:grpSpPr>
          <a:xfrm>
            <a:off x="9842831" y="4528045"/>
            <a:ext cx="1334466" cy="58307"/>
            <a:chOff x="6121556" y="1809778"/>
            <a:chExt cx="1334466" cy="58307"/>
          </a:xfrm>
          <a:solidFill>
            <a:srgbClr val="FF0000"/>
          </a:solidFill>
        </p:grpSpPr>
        <p:pic>
          <p:nvPicPr>
            <p:cNvPr id="237" name="Picture 4" descr="Pipeline Icon Images – Browse 100,131 Stock Photos, Vectors, and Video |  Adobe Stock">
              <a:extLst>
                <a:ext uri="{FF2B5EF4-FFF2-40B4-BE49-F238E27FC236}">
                  <a16:creationId xmlns:a16="http://schemas.microsoft.com/office/drawing/2014/main" id="{B7419078-E271-8410-034C-3EF970B136B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8" name="Picture 4" descr="Pipeline Icon Images – Browse 100,131 Stock Photos, Vectors, and Video |  Adobe Stock">
              <a:extLst>
                <a:ext uri="{FF2B5EF4-FFF2-40B4-BE49-F238E27FC236}">
                  <a16:creationId xmlns:a16="http://schemas.microsoft.com/office/drawing/2014/main" id="{32476A94-053A-2863-8514-F98018B44B9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39" name="Picture 4" descr="Pipeline Icon Images – Browse 100,131 Stock Photos, Vectors, and Video |  Adobe Stock">
              <a:extLst>
                <a:ext uri="{FF2B5EF4-FFF2-40B4-BE49-F238E27FC236}">
                  <a16:creationId xmlns:a16="http://schemas.microsoft.com/office/drawing/2014/main" id="{AE67759E-44F1-B255-D90B-3C5D7AE0484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0" name="Picture 4" descr="Pipeline Icon Images – Browse 100,131 Stock Photos, Vectors, and Video |  Adobe Stock">
              <a:extLst>
                <a:ext uri="{FF2B5EF4-FFF2-40B4-BE49-F238E27FC236}">
                  <a16:creationId xmlns:a16="http://schemas.microsoft.com/office/drawing/2014/main" id="{406166E3-4202-8292-6C6A-4912C9CEAAA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1" name="Picture 4" descr="Pipeline Icon Images – Browse 100,131 Stock Photos, Vectors, and Video |  Adobe Stock">
              <a:extLst>
                <a:ext uri="{FF2B5EF4-FFF2-40B4-BE49-F238E27FC236}">
                  <a16:creationId xmlns:a16="http://schemas.microsoft.com/office/drawing/2014/main" id="{301512CC-C048-B286-FDBE-D2230214274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2" name="Picture 4" descr="Pipeline Icon Images – Browse 100,131 Stock Photos, Vectors, and Video |  Adobe Stock">
              <a:extLst>
                <a:ext uri="{FF2B5EF4-FFF2-40B4-BE49-F238E27FC236}">
                  <a16:creationId xmlns:a16="http://schemas.microsoft.com/office/drawing/2014/main" id="{AEDF8CD8-2D71-A6E5-1A9B-84EEBEBFE10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3" name="Picture 4" descr="Pipeline Icon Images – Browse 100,131 Stock Photos, Vectors, and Video |  Adobe Stock">
              <a:extLst>
                <a:ext uri="{FF2B5EF4-FFF2-40B4-BE49-F238E27FC236}">
                  <a16:creationId xmlns:a16="http://schemas.microsoft.com/office/drawing/2014/main" id="{CBACD031-3640-C90E-A219-D0E3CFEF753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4" name="Picture 4" descr="Pipeline Icon Images – Browse 100,131 Stock Photos, Vectors, and Video |  Adobe Stock">
              <a:extLst>
                <a:ext uri="{FF2B5EF4-FFF2-40B4-BE49-F238E27FC236}">
                  <a16:creationId xmlns:a16="http://schemas.microsoft.com/office/drawing/2014/main" id="{BC7D588F-ADD7-5242-CC4E-E5CB6A93331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5" name="Picture 4" descr="Pipeline Icon Images – Browse 100,131 Stock Photos, Vectors, and Video |  Adobe Stock">
              <a:extLst>
                <a:ext uri="{FF2B5EF4-FFF2-40B4-BE49-F238E27FC236}">
                  <a16:creationId xmlns:a16="http://schemas.microsoft.com/office/drawing/2014/main" id="{A109C1A5-6754-551B-072E-C91754ECACD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6" name="Picture 4" descr="Pipeline Icon Images – Browse 100,131 Stock Photos, Vectors, and Video |  Adobe Stock">
              <a:extLst>
                <a:ext uri="{FF2B5EF4-FFF2-40B4-BE49-F238E27FC236}">
                  <a16:creationId xmlns:a16="http://schemas.microsoft.com/office/drawing/2014/main" id="{A2901DE6-55C2-D429-03E1-256011B8F4D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247" name="Group 246">
            <a:extLst>
              <a:ext uri="{FF2B5EF4-FFF2-40B4-BE49-F238E27FC236}">
                <a16:creationId xmlns:a16="http://schemas.microsoft.com/office/drawing/2014/main" id="{B2667CA9-E16E-C0E9-14A2-83F5C03D6185}"/>
              </a:ext>
            </a:extLst>
          </p:cNvPr>
          <p:cNvGrpSpPr/>
          <p:nvPr/>
        </p:nvGrpSpPr>
        <p:grpSpPr>
          <a:xfrm>
            <a:off x="9843907" y="4823204"/>
            <a:ext cx="1334466" cy="58307"/>
            <a:chOff x="6121556" y="1809778"/>
            <a:chExt cx="1334466" cy="58307"/>
          </a:xfrm>
          <a:solidFill>
            <a:srgbClr val="FF0000"/>
          </a:solidFill>
        </p:grpSpPr>
        <p:pic>
          <p:nvPicPr>
            <p:cNvPr id="248" name="Picture 4" descr="Pipeline Icon Images – Browse 100,131 Stock Photos, Vectors, and Video |  Adobe Stock">
              <a:extLst>
                <a:ext uri="{FF2B5EF4-FFF2-40B4-BE49-F238E27FC236}">
                  <a16:creationId xmlns:a16="http://schemas.microsoft.com/office/drawing/2014/main" id="{39DDFBCA-0CEA-FE67-9DB9-EC664D198F3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49" name="Picture 4" descr="Pipeline Icon Images – Browse 100,131 Stock Photos, Vectors, and Video |  Adobe Stock">
              <a:extLst>
                <a:ext uri="{FF2B5EF4-FFF2-40B4-BE49-F238E27FC236}">
                  <a16:creationId xmlns:a16="http://schemas.microsoft.com/office/drawing/2014/main" id="{0F2A6568-56B4-1553-FEF4-B3BB2616813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0" name="Picture 4" descr="Pipeline Icon Images – Browse 100,131 Stock Photos, Vectors, and Video |  Adobe Stock">
              <a:extLst>
                <a:ext uri="{FF2B5EF4-FFF2-40B4-BE49-F238E27FC236}">
                  <a16:creationId xmlns:a16="http://schemas.microsoft.com/office/drawing/2014/main" id="{C71D60F6-D0EB-EB06-A08B-CD50FEB10B4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1" name="Picture 4" descr="Pipeline Icon Images – Browse 100,131 Stock Photos, Vectors, and Video |  Adobe Stock">
              <a:extLst>
                <a:ext uri="{FF2B5EF4-FFF2-40B4-BE49-F238E27FC236}">
                  <a16:creationId xmlns:a16="http://schemas.microsoft.com/office/drawing/2014/main" id="{2A77F5DF-B602-ADDB-6FFD-DB00FA2689A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2" name="Picture 4" descr="Pipeline Icon Images – Browse 100,131 Stock Photos, Vectors, and Video |  Adobe Stock">
              <a:extLst>
                <a:ext uri="{FF2B5EF4-FFF2-40B4-BE49-F238E27FC236}">
                  <a16:creationId xmlns:a16="http://schemas.microsoft.com/office/drawing/2014/main" id="{3E596F0D-B85D-EE49-2666-AFCECDD3D4F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3" name="Picture 4" descr="Pipeline Icon Images – Browse 100,131 Stock Photos, Vectors, and Video |  Adobe Stock">
              <a:extLst>
                <a:ext uri="{FF2B5EF4-FFF2-40B4-BE49-F238E27FC236}">
                  <a16:creationId xmlns:a16="http://schemas.microsoft.com/office/drawing/2014/main" id="{028B8BD0-B143-C130-6B78-DA332FF3B2B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4" name="Picture 4" descr="Pipeline Icon Images – Browse 100,131 Stock Photos, Vectors, and Video |  Adobe Stock">
              <a:extLst>
                <a:ext uri="{FF2B5EF4-FFF2-40B4-BE49-F238E27FC236}">
                  <a16:creationId xmlns:a16="http://schemas.microsoft.com/office/drawing/2014/main" id="{1286FF35-0248-F6C1-8F44-3F1D337C60C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5" name="Picture 4" descr="Pipeline Icon Images – Browse 100,131 Stock Photos, Vectors, and Video |  Adobe Stock">
              <a:extLst>
                <a:ext uri="{FF2B5EF4-FFF2-40B4-BE49-F238E27FC236}">
                  <a16:creationId xmlns:a16="http://schemas.microsoft.com/office/drawing/2014/main" id="{DB41003C-D07B-83A1-677F-8553327202B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6" name="Picture 4" descr="Pipeline Icon Images – Browse 100,131 Stock Photos, Vectors, and Video |  Adobe Stock">
              <a:extLst>
                <a:ext uri="{FF2B5EF4-FFF2-40B4-BE49-F238E27FC236}">
                  <a16:creationId xmlns:a16="http://schemas.microsoft.com/office/drawing/2014/main" id="{B3A1ABDF-03E4-A026-604E-901CA559A44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57" name="Picture 4" descr="Pipeline Icon Images – Browse 100,131 Stock Photos, Vectors, and Video |  Adobe Stock">
              <a:extLst>
                <a:ext uri="{FF2B5EF4-FFF2-40B4-BE49-F238E27FC236}">
                  <a16:creationId xmlns:a16="http://schemas.microsoft.com/office/drawing/2014/main" id="{4F65BD8F-912B-E558-2BA6-DE680E8937C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pic>
        <p:nvPicPr>
          <p:cNvPr id="258" name="Picture 4" descr="Pipeline Icon Images – Browse 100,131 Stock Photos, Vectors, and Video |  Adobe Stock">
            <a:extLst>
              <a:ext uri="{FF2B5EF4-FFF2-40B4-BE49-F238E27FC236}">
                <a16:creationId xmlns:a16="http://schemas.microsoft.com/office/drawing/2014/main" id="{047542FB-4A4B-B180-5B1E-2BDC670BD12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247" t="9919" r="5448" b="57095"/>
          <a:stretch/>
        </p:blipFill>
        <p:spPr bwMode="auto">
          <a:xfrm>
            <a:off x="9387012" y="4928423"/>
            <a:ext cx="259346" cy="300216"/>
          </a:xfrm>
          <a:prstGeom prst="rect">
            <a:avLst/>
          </a:prstGeom>
          <a:extLst>
            <a:ext uri="{909E8E84-426E-40DD-AFC4-6F175D3DCCD1}">
              <a14:hiddenFill xmlns:a14="http://schemas.microsoft.com/office/drawing/2010/main">
                <a:solidFill>
                  <a:srgbClr val="FFFFFF"/>
                </a:solidFill>
              </a14:hiddenFill>
            </a:ext>
          </a:extLst>
        </p:spPr>
      </p:pic>
      <p:grpSp>
        <p:nvGrpSpPr>
          <p:cNvPr id="259" name="Group 258">
            <a:extLst>
              <a:ext uri="{FF2B5EF4-FFF2-40B4-BE49-F238E27FC236}">
                <a16:creationId xmlns:a16="http://schemas.microsoft.com/office/drawing/2014/main" id="{A63D3224-A7D6-4D00-FA8A-288CCF1A75D8}"/>
              </a:ext>
            </a:extLst>
          </p:cNvPr>
          <p:cNvGrpSpPr/>
          <p:nvPr/>
        </p:nvGrpSpPr>
        <p:grpSpPr>
          <a:xfrm>
            <a:off x="9650735" y="5140507"/>
            <a:ext cx="136759" cy="186694"/>
            <a:chOff x="6098836" y="2071903"/>
            <a:chExt cx="350292" cy="478196"/>
          </a:xfrm>
          <a:solidFill>
            <a:srgbClr val="FF0000"/>
          </a:solidFill>
        </p:grpSpPr>
        <p:pic>
          <p:nvPicPr>
            <p:cNvPr id="260" name="Picture 4" descr="Pipeline Icon Images – Browse 100,131 Stock Photos, Vectors, and Video |  Adobe Stock">
              <a:extLst>
                <a:ext uri="{FF2B5EF4-FFF2-40B4-BE49-F238E27FC236}">
                  <a16:creationId xmlns:a16="http://schemas.microsoft.com/office/drawing/2014/main" id="{74F57C37-B7C1-3E2A-514C-EF4C9ECAF9A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61" name="Picture 4" descr="Pipeline Icon Images – Browse 100,131 Stock Photos, Vectors, and Video |  Adobe Stock">
              <a:extLst>
                <a:ext uri="{FF2B5EF4-FFF2-40B4-BE49-F238E27FC236}">
                  <a16:creationId xmlns:a16="http://schemas.microsoft.com/office/drawing/2014/main" id="{75E18509-FEEE-0A66-8365-5786DEFCA21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62" name="Group 261">
            <a:extLst>
              <a:ext uri="{FF2B5EF4-FFF2-40B4-BE49-F238E27FC236}">
                <a16:creationId xmlns:a16="http://schemas.microsoft.com/office/drawing/2014/main" id="{77CA5D19-C03C-ED61-CB55-5E44DE9C2282}"/>
              </a:ext>
            </a:extLst>
          </p:cNvPr>
          <p:cNvGrpSpPr/>
          <p:nvPr/>
        </p:nvGrpSpPr>
        <p:grpSpPr>
          <a:xfrm flipV="1">
            <a:off x="9652471" y="4962421"/>
            <a:ext cx="135005" cy="184300"/>
            <a:chOff x="6098836" y="2071903"/>
            <a:chExt cx="350292" cy="478196"/>
          </a:xfrm>
          <a:solidFill>
            <a:srgbClr val="FF0000"/>
          </a:solidFill>
        </p:grpSpPr>
        <p:pic>
          <p:nvPicPr>
            <p:cNvPr id="263" name="Picture 4" descr="Pipeline Icon Images – Browse 100,131 Stock Photos, Vectors, and Video |  Adobe Stock">
              <a:extLst>
                <a:ext uri="{FF2B5EF4-FFF2-40B4-BE49-F238E27FC236}">
                  <a16:creationId xmlns:a16="http://schemas.microsoft.com/office/drawing/2014/main" id="{FF8EF840-8309-1F4E-8C96-9C515471032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49777" r="78874" b="17237"/>
            <a:stretch/>
          </p:blipFill>
          <p:spPr bwMode="auto">
            <a:xfrm rot="10800000">
              <a:off x="6098836" y="2071903"/>
              <a:ext cx="279239" cy="283290"/>
            </a:xfrm>
            <a:prstGeom prst="rect">
              <a:avLst/>
            </a:prstGeom>
            <a:extLst>
              <a:ext uri="{909E8E84-426E-40DD-AFC4-6F175D3DCCD1}">
                <a14:hiddenFill xmlns:a14="http://schemas.microsoft.com/office/drawing/2010/main">
                  <a:solidFill>
                    <a:srgbClr val="FFFFFF"/>
                  </a:solidFill>
                </a14:hiddenFill>
              </a:ext>
            </a:extLst>
          </p:spPr>
        </p:pic>
        <p:pic>
          <p:nvPicPr>
            <p:cNvPr id="264" name="Picture 4" descr="Pipeline Icon Images – Browse 100,131 Stock Photos, Vectors, and Video |  Adobe Stock">
              <a:extLst>
                <a:ext uri="{FF2B5EF4-FFF2-40B4-BE49-F238E27FC236}">
                  <a16:creationId xmlns:a16="http://schemas.microsoft.com/office/drawing/2014/main" id="{8FD199BB-98BA-7FE1-1DE5-24AFCD0AABE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945" t="52932" r="80194" b="17237"/>
            <a:stretch/>
          </p:blipFill>
          <p:spPr bwMode="auto">
            <a:xfrm>
              <a:off x="6194162" y="2293904"/>
              <a:ext cx="254966" cy="256195"/>
            </a:xfrm>
            <a:prstGeom prst="rect">
              <a:avLst/>
            </a:prstGeom>
            <a:extLst>
              <a:ext uri="{909E8E84-426E-40DD-AFC4-6F175D3DCCD1}">
                <a14:hiddenFill xmlns:a14="http://schemas.microsoft.com/office/drawing/2010/main">
                  <a:solidFill>
                    <a:srgbClr val="FFFFFF"/>
                  </a:solidFill>
                </a14:hiddenFill>
              </a:ext>
            </a:extLst>
          </p:spPr>
        </p:pic>
      </p:grpSp>
      <p:grpSp>
        <p:nvGrpSpPr>
          <p:cNvPr id="265" name="Group 264">
            <a:extLst>
              <a:ext uri="{FF2B5EF4-FFF2-40B4-BE49-F238E27FC236}">
                <a16:creationId xmlns:a16="http://schemas.microsoft.com/office/drawing/2014/main" id="{68FB9654-5F74-4CFC-1EAF-9EC819A7436D}"/>
              </a:ext>
            </a:extLst>
          </p:cNvPr>
          <p:cNvGrpSpPr/>
          <p:nvPr/>
        </p:nvGrpSpPr>
        <p:grpSpPr>
          <a:xfrm>
            <a:off x="9774544" y="4968457"/>
            <a:ext cx="1334466" cy="58307"/>
            <a:chOff x="6121556" y="1809778"/>
            <a:chExt cx="1334466" cy="58307"/>
          </a:xfrm>
          <a:solidFill>
            <a:srgbClr val="FF0000"/>
          </a:solidFill>
        </p:grpSpPr>
        <p:pic>
          <p:nvPicPr>
            <p:cNvPr id="266" name="Picture 4" descr="Pipeline Icon Images – Browse 100,131 Stock Photos, Vectors, and Video |  Adobe Stock">
              <a:extLst>
                <a:ext uri="{FF2B5EF4-FFF2-40B4-BE49-F238E27FC236}">
                  <a16:creationId xmlns:a16="http://schemas.microsoft.com/office/drawing/2014/main" id="{F52DD804-DA3C-A45B-BE05-3014C69E81B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7" name="Picture 4" descr="Pipeline Icon Images – Browse 100,131 Stock Photos, Vectors, and Video |  Adobe Stock">
              <a:extLst>
                <a:ext uri="{FF2B5EF4-FFF2-40B4-BE49-F238E27FC236}">
                  <a16:creationId xmlns:a16="http://schemas.microsoft.com/office/drawing/2014/main" id="{1187D4B9-3D0B-F149-5857-6BAA4E8243B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8" name="Picture 4" descr="Pipeline Icon Images – Browse 100,131 Stock Photos, Vectors, and Video |  Adobe Stock">
              <a:extLst>
                <a:ext uri="{FF2B5EF4-FFF2-40B4-BE49-F238E27FC236}">
                  <a16:creationId xmlns:a16="http://schemas.microsoft.com/office/drawing/2014/main" id="{41B71498-6939-33B1-C56A-A127EC18E1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69" name="Picture 4" descr="Pipeline Icon Images – Browse 100,131 Stock Photos, Vectors, and Video |  Adobe Stock">
              <a:extLst>
                <a:ext uri="{FF2B5EF4-FFF2-40B4-BE49-F238E27FC236}">
                  <a16:creationId xmlns:a16="http://schemas.microsoft.com/office/drawing/2014/main" id="{CE3A44D9-33FB-3F2E-C2A2-15FCB60CA22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0" name="Picture 4" descr="Pipeline Icon Images – Browse 100,131 Stock Photos, Vectors, and Video |  Adobe Stock">
              <a:extLst>
                <a:ext uri="{FF2B5EF4-FFF2-40B4-BE49-F238E27FC236}">
                  <a16:creationId xmlns:a16="http://schemas.microsoft.com/office/drawing/2014/main" id="{D3AE8CAD-7CD9-19B8-C5A3-A827B686776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1" name="Picture 4" descr="Pipeline Icon Images – Browse 100,131 Stock Photos, Vectors, and Video |  Adobe Stock">
              <a:extLst>
                <a:ext uri="{FF2B5EF4-FFF2-40B4-BE49-F238E27FC236}">
                  <a16:creationId xmlns:a16="http://schemas.microsoft.com/office/drawing/2014/main" id="{792652ED-CE37-5255-8E66-C3D1B91D10C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2" name="Picture 4" descr="Pipeline Icon Images – Browse 100,131 Stock Photos, Vectors, and Video |  Adobe Stock">
              <a:extLst>
                <a:ext uri="{FF2B5EF4-FFF2-40B4-BE49-F238E27FC236}">
                  <a16:creationId xmlns:a16="http://schemas.microsoft.com/office/drawing/2014/main" id="{FC512E02-09B3-5DC8-98BB-5E4B7399354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3" name="Picture 4" descr="Pipeline Icon Images – Browse 100,131 Stock Photos, Vectors, and Video |  Adobe Stock">
              <a:extLst>
                <a:ext uri="{FF2B5EF4-FFF2-40B4-BE49-F238E27FC236}">
                  <a16:creationId xmlns:a16="http://schemas.microsoft.com/office/drawing/2014/main" id="{23B182B1-EEF0-2BF7-9993-30CE03E0488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4" name="Picture 4" descr="Pipeline Icon Images – Browse 100,131 Stock Photos, Vectors, and Video |  Adobe Stock">
              <a:extLst>
                <a:ext uri="{FF2B5EF4-FFF2-40B4-BE49-F238E27FC236}">
                  <a16:creationId xmlns:a16="http://schemas.microsoft.com/office/drawing/2014/main" id="{1AA07003-64B0-46A6-89A3-FB16A4C4E1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5" name="Picture 4" descr="Pipeline Icon Images – Browse 100,131 Stock Photos, Vectors, and Video |  Adobe Stock">
              <a:extLst>
                <a:ext uri="{FF2B5EF4-FFF2-40B4-BE49-F238E27FC236}">
                  <a16:creationId xmlns:a16="http://schemas.microsoft.com/office/drawing/2014/main" id="{CA92F6D0-19E9-C608-BBD0-894CD51C69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grpSp>
        <p:nvGrpSpPr>
          <p:cNvPr id="276" name="Group 275">
            <a:extLst>
              <a:ext uri="{FF2B5EF4-FFF2-40B4-BE49-F238E27FC236}">
                <a16:creationId xmlns:a16="http://schemas.microsoft.com/office/drawing/2014/main" id="{A5A93C73-4068-331B-C946-4E2272D57FEA}"/>
              </a:ext>
            </a:extLst>
          </p:cNvPr>
          <p:cNvGrpSpPr/>
          <p:nvPr/>
        </p:nvGrpSpPr>
        <p:grpSpPr>
          <a:xfrm>
            <a:off x="9775620" y="5263616"/>
            <a:ext cx="1334466" cy="58307"/>
            <a:chOff x="6121556" y="1809778"/>
            <a:chExt cx="1334466" cy="58307"/>
          </a:xfrm>
          <a:solidFill>
            <a:srgbClr val="FF0000"/>
          </a:solidFill>
        </p:grpSpPr>
        <p:pic>
          <p:nvPicPr>
            <p:cNvPr id="277" name="Picture 4" descr="Pipeline Icon Images – Browse 100,131 Stock Photos, Vectors, and Video |  Adobe Stock">
              <a:extLst>
                <a:ext uri="{FF2B5EF4-FFF2-40B4-BE49-F238E27FC236}">
                  <a16:creationId xmlns:a16="http://schemas.microsoft.com/office/drawing/2014/main" id="{1F78019B-EF8A-666C-A71B-FABFB104CFB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12155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8" name="Picture 4" descr="Pipeline Icon Images – Browse 100,131 Stock Photos, Vectors, and Video |  Adobe Stock">
              <a:extLst>
                <a:ext uri="{FF2B5EF4-FFF2-40B4-BE49-F238E27FC236}">
                  <a16:creationId xmlns:a16="http://schemas.microsoft.com/office/drawing/2014/main" id="{1E6269C0-4B2F-E070-CCF9-8BF50043FDF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25381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79" name="Picture 4" descr="Pipeline Icon Images – Browse 100,131 Stock Photos, Vectors, and Video |  Adobe Stock">
              <a:extLst>
                <a:ext uri="{FF2B5EF4-FFF2-40B4-BE49-F238E27FC236}">
                  <a16:creationId xmlns:a16="http://schemas.microsoft.com/office/drawing/2014/main" id="{786A151A-8A93-235C-BE71-76651A76AFE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3863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0" name="Picture 4" descr="Pipeline Icon Images – Browse 100,131 Stock Photos, Vectors, and Video |  Adobe Stock">
              <a:extLst>
                <a:ext uri="{FF2B5EF4-FFF2-40B4-BE49-F238E27FC236}">
                  <a16:creationId xmlns:a16="http://schemas.microsoft.com/office/drawing/2014/main" id="{20331057-DE02-454E-301F-B5101812F2F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186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1" name="Picture 4" descr="Pipeline Icon Images – Browse 100,131 Stock Photos, Vectors, and Video |  Adobe Stock">
              <a:extLst>
                <a:ext uri="{FF2B5EF4-FFF2-40B4-BE49-F238E27FC236}">
                  <a16:creationId xmlns:a16="http://schemas.microsoft.com/office/drawing/2014/main" id="{8B69B5D1-287C-EBCA-25DD-88E84B7A81B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65124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2" name="Picture 4" descr="Pipeline Icon Images – Browse 100,131 Stock Photos, Vectors, and Video |  Adobe Stock">
              <a:extLst>
                <a:ext uri="{FF2B5EF4-FFF2-40B4-BE49-F238E27FC236}">
                  <a16:creationId xmlns:a16="http://schemas.microsoft.com/office/drawing/2014/main" id="{B669A4B0-D22E-1BEF-7678-CD5E8C0CA93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783504"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3" name="Picture 4" descr="Pipeline Icon Images – Browse 100,131 Stock Photos, Vectors, and Video |  Adobe Stock">
              <a:extLst>
                <a:ext uri="{FF2B5EF4-FFF2-40B4-BE49-F238E27FC236}">
                  <a16:creationId xmlns:a16="http://schemas.microsoft.com/office/drawing/2014/main" id="{E3B73803-F453-D9ED-6F67-045D52B2AD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915766"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4" name="Picture 4" descr="Pipeline Icon Images – Browse 100,131 Stock Photos, Vectors, and Video |  Adobe Stock">
              <a:extLst>
                <a:ext uri="{FF2B5EF4-FFF2-40B4-BE49-F238E27FC236}">
                  <a16:creationId xmlns:a16="http://schemas.microsoft.com/office/drawing/2014/main" id="{95A25D65-A85D-A06E-1C7E-E6915FCD79D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048028"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5" name="Picture 4" descr="Pipeline Icon Images – Browse 100,131 Stock Photos, Vectors, and Video |  Adobe Stock">
              <a:extLst>
                <a:ext uri="{FF2B5EF4-FFF2-40B4-BE49-F238E27FC236}">
                  <a16:creationId xmlns:a16="http://schemas.microsoft.com/office/drawing/2014/main" id="{8616CB30-8107-5235-95C5-D47541485C3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180552" y="1809778"/>
              <a:ext cx="143208" cy="58307"/>
            </a:xfrm>
            <a:prstGeom prst="rect">
              <a:avLst/>
            </a:prstGeom>
            <a:extLst>
              <a:ext uri="{909E8E84-426E-40DD-AFC4-6F175D3DCCD1}">
                <a14:hiddenFill xmlns:a14="http://schemas.microsoft.com/office/drawing/2010/main">
                  <a:solidFill>
                    <a:srgbClr val="FFFFFF"/>
                  </a:solidFill>
                </a14:hiddenFill>
              </a:ext>
            </a:extLst>
          </p:spPr>
        </p:pic>
        <p:pic>
          <p:nvPicPr>
            <p:cNvPr id="286" name="Picture 4" descr="Pipeline Icon Images – Browse 100,131 Stock Photos, Vectors, and Video |  Adobe Stock">
              <a:extLst>
                <a:ext uri="{FF2B5EF4-FFF2-40B4-BE49-F238E27FC236}">
                  <a16:creationId xmlns:a16="http://schemas.microsoft.com/office/drawing/2014/main" id="{9E45B046-DA16-29F7-B292-ECAE714A8ED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7312814" y="1809778"/>
              <a:ext cx="143208" cy="58307"/>
            </a:xfrm>
            <a:prstGeom prst="rect">
              <a:avLst/>
            </a:prstGeom>
            <a:extLst>
              <a:ext uri="{909E8E84-426E-40DD-AFC4-6F175D3DCCD1}">
                <a14:hiddenFill xmlns:a14="http://schemas.microsoft.com/office/drawing/2010/main">
                  <a:solidFill>
                    <a:srgbClr val="FFFFFF"/>
                  </a:solidFill>
                </a14:hiddenFill>
              </a:ext>
            </a:extLst>
          </p:spPr>
        </p:pic>
      </p:grpSp>
      <p:pic>
        <p:nvPicPr>
          <p:cNvPr id="287" name="Picture 4" descr="Pipeline Icon Images – Browse 100,131 Stock Photos, Vectors, and Video |  Adobe Stock">
            <a:extLst>
              <a:ext uri="{FF2B5EF4-FFF2-40B4-BE49-F238E27FC236}">
                <a16:creationId xmlns:a16="http://schemas.microsoft.com/office/drawing/2014/main" id="{ECD4B6A0-91CC-506F-37BD-4727AF05115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4002" t="63286" r="56099" b="19363"/>
          <a:stretch/>
        </p:blipFill>
        <p:spPr bwMode="auto">
          <a:xfrm>
            <a:off x="3346267" y="4463408"/>
            <a:ext cx="1514519" cy="616646"/>
          </a:xfrm>
          <a:prstGeom prst="rect">
            <a:avLst/>
          </a:prstGeom>
          <a:solidFill>
            <a:srgbClr val="FFC000"/>
          </a:solidFill>
        </p:spPr>
      </p:pic>
      <p:pic>
        <p:nvPicPr>
          <p:cNvPr id="288" name="Picture 4" descr="Pipeline Icon Images – Browse 100,131 Stock Photos, Vectors, and Video |  Adobe Stock">
            <a:extLst>
              <a:ext uri="{FF2B5EF4-FFF2-40B4-BE49-F238E27FC236}">
                <a16:creationId xmlns:a16="http://schemas.microsoft.com/office/drawing/2014/main" id="{EE1E0863-CED4-3030-1407-91AD53B55E5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5510860" y="4547202"/>
            <a:ext cx="1123729" cy="457534"/>
          </a:xfrm>
          <a:prstGeom prst="rect">
            <a:avLst/>
          </a:prstGeom>
          <a:extLst>
            <a:ext uri="{909E8E84-426E-40DD-AFC4-6F175D3DCCD1}">
              <a14:hiddenFill xmlns:a14="http://schemas.microsoft.com/office/drawing/2010/main">
                <a:solidFill>
                  <a:srgbClr val="FFFFFF"/>
                </a:solidFill>
              </a14:hiddenFill>
            </a:ext>
          </a:extLst>
        </p:spPr>
      </p:pic>
      <p:pic>
        <p:nvPicPr>
          <p:cNvPr id="289" name="Picture 4" descr="Pipeline Icon Images – Browse 100,131 Stock Photos, Vectors, and Video |  Adobe Stock">
            <a:extLst>
              <a:ext uri="{FF2B5EF4-FFF2-40B4-BE49-F238E27FC236}">
                <a16:creationId xmlns:a16="http://schemas.microsoft.com/office/drawing/2014/main" id="{15C1A32A-604D-BD3F-457C-CD43513186C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6547952" y="4547202"/>
            <a:ext cx="1123729" cy="457534"/>
          </a:xfrm>
          <a:prstGeom prst="rect">
            <a:avLst/>
          </a:prstGeom>
          <a:extLst>
            <a:ext uri="{909E8E84-426E-40DD-AFC4-6F175D3DCCD1}">
              <a14:hiddenFill xmlns:a14="http://schemas.microsoft.com/office/drawing/2010/main">
                <a:solidFill>
                  <a:srgbClr val="FFFFFF"/>
                </a:solidFill>
              </a14:hiddenFill>
            </a:ext>
          </a:extLst>
        </p:spPr>
      </p:pic>
      <p:sp>
        <p:nvSpPr>
          <p:cNvPr id="290" name="Rectangle 289">
            <a:extLst>
              <a:ext uri="{FF2B5EF4-FFF2-40B4-BE49-F238E27FC236}">
                <a16:creationId xmlns:a16="http://schemas.microsoft.com/office/drawing/2014/main" id="{AC34F4E8-61F4-7C75-F3FC-E48E4093AFD1}"/>
              </a:ext>
            </a:extLst>
          </p:cNvPr>
          <p:cNvSpPr/>
          <p:nvPr/>
        </p:nvSpPr>
        <p:spPr>
          <a:xfrm>
            <a:off x="1292765" y="4529185"/>
            <a:ext cx="585069" cy="475552"/>
          </a:xfrm>
          <a:prstGeom prst="rect">
            <a:avLst/>
          </a:prstGeom>
          <a:solidFill>
            <a:srgbClr val="000000"/>
          </a:solid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mj-lt"/>
                <a:cs typeface="Poppins" panose="00000500000000000000" pitchFamily="2" charset="0"/>
              </a:rPr>
              <a:t>NTS</a:t>
            </a:r>
          </a:p>
        </p:txBody>
      </p:sp>
      <p:pic>
        <p:nvPicPr>
          <p:cNvPr id="291" name="Picture 4" descr="Pipeline Icon Images – Browse 100,131 Stock Photos, Vectors, and Video |  Adobe Stock">
            <a:extLst>
              <a:ext uri="{FF2B5EF4-FFF2-40B4-BE49-F238E27FC236}">
                <a16:creationId xmlns:a16="http://schemas.microsoft.com/office/drawing/2014/main" id="{52BB4AED-F89A-1005-CD53-4A87D4E8E45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002" t="63286" r="56099" b="19363"/>
          <a:stretch/>
        </p:blipFill>
        <p:spPr bwMode="auto">
          <a:xfrm>
            <a:off x="936922" y="4451634"/>
            <a:ext cx="1514519" cy="616646"/>
          </a:xfrm>
          <a:prstGeom prst="rect">
            <a:avLst/>
          </a:prstGeom>
          <a:noFill/>
          <a:extLst>
            <a:ext uri="{909E8E84-426E-40DD-AFC4-6F175D3DCCD1}">
              <a14:hiddenFill xmlns:a14="http://schemas.microsoft.com/office/drawing/2010/main">
                <a:solidFill>
                  <a:srgbClr val="FFFFFF"/>
                </a:solidFill>
              </a14:hiddenFill>
            </a:ext>
          </a:extLst>
        </p:spPr>
      </p:pic>
      <p:sp>
        <p:nvSpPr>
          <p:cNvPr id="304" name="TextBox 303">
            <a:extLst>
              <a:ext uri="{FF2B5EF4-FFF2-40B4-BE49-F238E27FC236}">
                <a16:creationId xmlns:a16="http://schemas.microsoft.com/office/drawing/2014/main" id="{6EC924E9-BAD1-5C0E-8F85-A60E4EA4525C}"/>
              </a:ext>
            </a:extLst>
          </p:cNvPr>
          <p:cNvSpPr txBox="1"/>
          <p:nvPr/>
        </p:nvSpPr>
        <p:spPr>
          <a:xfrm>
            <a:off x="1073400" y="3976019"/>
            <a:ext cx="1383365" cy="400110"/>
          </a:xfrm>
          <a:prstGeom prst="rect">
            <a:avLst/>
          </a:prstGeom>
          <a:solidFill>
            <a:schemeClr val="accent3"/>
          </a:solidFill>
        </p:spPr>
        <p:txBody>
          <a:bodyPr wrap="square" rtlCol="0">
            <a:spAutoFit/>
          </a:bodyPr>
          <a:lstStyle/>
          <a:p>
            <a:pPr algn="ctr"/>
            <a:r>
              <a:rPr lang="en-US" sz="1000" b="1">
                <a:solidFill>
                  <a:schemeClr val="bg1"/>
                </a:solidFill>
                <a:latin typeface="+mj-lt"/>
                <a:cs typeface="Poppins" panose="00000500000000000000" pitchFamily="2" charset="0"/>
              </a:rPr>
              <a:t>NTS</a:t>
            </a:r>
          </a:p>
          <a:p>
            <a:pPr algn="ctr"/>
            <a:r>
              <a:rPr lang="en-US" sz="1000">
                <a:solidFill>
                  <a:schemeClr val="bg1"/>
                </a:solidFill>
                <a:latin typeface="+mj-lt"/>
                <a:cs typeface="Poppins" panose="00000500000000000000" pitchFamily="2" charset="0"/>
              </a:rPr>
              <a:t>85 bar </a:t>
            </a:r>
            <a:r>
              <a:rPr lang="en-US" sz="1000">
                <a:solidFill>
                  <a:schemeClr val="bg1"/>
                </a:solidFill>
                <a:latin typeface="+mj-lt"/>
                <a:cs typeface="Poppins" panose="00000500000000000000" pitchFamily="2" charset="0"/>
                <a:sym typeface="Wingdings" panose="05000000000000000000" pitchFamily="2" charset="2"/>
              </a:rPr>
              <a:t> 38 bar</a:t>
            </a:r>
            <a:endParaRPr lang="en-GB" sz="1000">
              <a:solidFill>
                <a:schemeClr val="bg1"/>
              </a:solidFill>
              <a:latin typeface="+mj-lt"/>
              <a:cs typeface="Poppins" panose="00000500000000000000" pitchFamily="2" charset="0"/>
            </a:endParaRPr>
          </a:p>
        </p:txBody>
      </p:sp>
      <p:sp>
        <p:nvSpPr>
          <p:cNvPr id="327" name="TextBox 326">
            <a:extLst>
              <a:ext uri="{FF2B5EF4-FFF2-40B4-BE49-F238E27FC236}">
                <a16:creationId xmlns:a16="http://schemas.microsoft.com/office/drawing/2014/main" id="{6B3E50F5-9185-9959-517B-1B5B1CC42A21}"/>
              </a:ext>
            </a:extLst>
          </p:cNvPr>
          <p:cNvSpPr txBox="1"/>
          <p:nvPr/>
        </p:nvSpPr>
        <p:spPr>
          <a:xfrm>
            <a:off x="1157364" y="3311858"/>
            <a:ext cx="10745117" cy="322268"/>
          </a:xfrm>
          <a:prstGeom prst="rect">
            <a:avLst/>
          </a:prstGeom>
          <a:noFill/>
        </p:spPr>
        <p:txBody>
          <a:bodyPr wrap="square" lIns="91440" tIns="45720" rIns="91440" bIns="45720" rtlCol="0" anchor="t">
            <a:spAutoFit/>
          </a:bodyPr>
          <a:lstStyle/>
          <a:p>
            <a:pPr lvl="0">
              <a:lnSpc>
                <a:spcPct val="150000"/>
              </a:lnSpc>
            </a:pPr>
            <a:r>
              <a:rPr lang="en-GB" sz="1100">
                <a:solidFill>
                  <a:schemeClr val="dk1"/>
                </a:solidFill>
              </a:rPr>
              <a:t>GDNs utilise </a:t>
            </a:r>
            <a:r>
              <a:rPr lang="en-GB" sz="1100" i="1">
                <a:solidFill>
                  <a:schemeClr val="dk1"/>
                </a:solidFill>
              </a:rPr>
              <a:t>RESP Pathways </a:t>
            </a:r>
            <a:r>
              <a:rPr lang="en-GB" sz="1100">
                <a:solidFill>
                  <a:schemeClr val="dk1"/>
                </a:solidFill>
              </a:rPr>
              <a:t>and </a:t>
            </a:r>
            <a:r>
              <a:rPr lang="en-GB" sz="1100" i="1">
                <a:solidFill>
                  <a:schemeClr val="dk1"/>
                </a:solidFill>
              </a:rPr>
              <a:t>RESP Consistent Planning Assumptions </a:t>
            </a:r>
            <a:r>
              <a:rPr lang="en-GB" sz="1100">
                <a:solidFill>
                  <a:schemeClr val="dk1"/>
                </a:solidFill>
              </a:rPr>
              <a:t>(CPAs) to model </a:t>
            </a:r>
            <a:r>
              <a:rPr lang="en-GB" sz="1100" b="1">
                <a:solidFill>
                  <a:schemeClr val="dk1"/>
                </a:solidFill>
              </a:rPr>
              <a:t>peak gas demand </a:t>
            </a:r>
            <a:r>
              <a:rPr lang="en-GB" sz="1100">
                <a:solidFill>
                  <a:schemeClr val="dk1"/>
                </a:solidFill>
              </a:rPr>
              <a:t>(weather corrected) across their networks</a:t>
            </a:r>
          </a:p>
        </p:txBody>
      </p:sp>
      <p:sp>
        <p:nvSpPr>
          <p:cNvPr id="309" name="Rectangle 308">
            <a:extLst>
              <a:ext uri="{FF2B5EF4-FFF2-40B4-BE49-F238E27FC236}">
                <a16:creationId xmlns:a16="http://schemas.microsoft.com/office/drawing/2014/main" id="{2F4A5B24-C737-7D0F-078B-D115179D054D}"/>
              </a:ext>
            </a:extLst>
          </p:cNvPr>
          <p:cNvSpPr/>
          <p:nvPr/>
        </p:nvSpPr>
        <p:spPr>
          <a:xfrm>
            <a:off x="8584852" y="5927398"/>
            <a:ext cx="585069" cy="1042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1" name="TextBox 310">
            <a:extLst>
              <a:ext uri="{FF2B5EF4-FFF2-40B4-BE49-F238E27FC236}">
                <a16:creationId xmlns:a16="http://schemas.microsoft.com/office/drawing/2014/main" id="{65A6452D-B882-AE6F-587E-B66ED46C8AF4}"/>
              </a:ext>
            </a:extLst>
          </p:cNvPr>
          <p:cNvSpPr txBox="1"/>
          <p:nvPr/>
        </p:nvSpPr>
        <p:spPr>
          <a:xfrm>
            <a:off x="738743" y="5656479"/>
            <a:ext cx="900631" cy="461665"/>
          </a:xfrm>
          <a:prstGeom prst="rect">
            <a:avLst/>
          </a:prstGeom>
          <a:solidFill>
            <a:schemeClr val="accent3">
              <a:lumMod val="20000"/>
              <a:lumOff val="80000"/>
            </a:schemeClr>
          </a:solidFill>
        </p:spPr>
        <p:txBody>
          <a:bodyPr wrap="square" rtlCol="0">
            <a:spAutoFit/>
          </a:bodyPr>
          <a:lstStyle/>
          <a:p>
            <a:r>
              <a:rPr lang="en-US" sz="1200" b="1">
                <a:solidFill>
                  <a:srgbClr val="000000"/>
                </a:solidFill>
                <a:latin typeface="+mj-lt"/>
                <a:cs typeface="Poppins" panose="00000500000000000000" pitchFamily="2" charset="0"/>
              </a:rPr>
              <a:t>Gas Demand</a:t>
            </a:r>
            <a:endParaRPr lang="en-GB" sz="1200" b="1">
              <a:solidFill>
                <a:srgbClr val="000000"/>
              </a:solidFill>
              <a:latin typeface="+mj-lt"/>
              <a:cs typeface="Poppins" panose="00000500000000000000" pitchFamily="2" charset="0"/>
            </a:endParaRPr>
          </a:p>
        </p:txBody>
      </p:sp>
      <p:sp>
        <p:nvSpPr>
          <p:cNvPr id="313" name="TextBox 312">
            <a:extLst>
              <a:ext uri="{FF2B5EF4-FFF2-40B4-BE49-F238E27FC236}">
                <a16:creationId xmlns:a16="http://schemas.microsoft.com/office/drawing/2014/main" id="{DF35306E-BD31-6DC6-F111-07A93CE393FF}"/>
              </a:ext>
            </a:extLst>
          </p:cNvPr>
          <p:cNvSpPr txBox="1"/>
          <p:nvPr/>
        </p:nvSpPr>
        <p:spPr>
          <a:xfrm>
            <a:off x="7156534" y="5625163"/>
            <a:ext cx="1948625" cy="400110"/>
          </a:xfrm>
          <a:prstGeom prst="rect">
            <a:avLst/>
          </a:prstGeom>
          <a:noFill/>
          <a:ln w="19050" cap="flat" cmpd="sng" algn="ctr">
            <a:solidFill>
              <a:srgbClr val="0095B0"/>
            </a:solidFill>
            <a:prstDash val="solid"/>
            <a:miter lim="800000"/>
          </a:ln>
          <a:effectLst/>
        </p:spPr>
        <p:txBody>
          <a:bodyPr wrap="square" lIns="4572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panose="00000500000000000000" pitchFamily="2" charset="0"/>
              </a:rPr>
              <a:t>Industrial &amp; commercial loads </a:t>
            </a:r>
            <a:endParaRPr kumimoji="0" lang="en-US" sz="1000" b="0" i="0" u="none" strike="noStrike" kern="0" cap="none" spc="0" normalizeH="0" baseline="0" noProof="0">
              <a:ln>
                <a:noFill/>
              </a:ln>
              <a:solidFill>
                <a:srgbClr val="000000"/>
              </a:solidFill>
              <a:effectLst/>
              <a:uLnTx/>
              <a:uFillTx/>
              <a:latin typeface="+mj-lt"/>
              <a:ea typeface="+mn-ea"/>
              <a:cs typeface="Poppins" panose="00000500000000000000" pitchFamily="2" charset="0"/>
            </a:endParaRPr>
          </a:p>
        </p:txBody>
      </p:sp>
      <p:cxnSp>
        <p:nvCxnSpPr>
          <p:cNvPr id="314" name="Connector: Elbow 313">
            <a:extLst>
              <a:ext uri="{FF2B5EF4-FFF2-40B4-BE49-F238E27FC236}">
                <a16:creationId xmlns:a16="http://schemas.microsoft.com/office/drawing/2014/main" id="{95F02B97-9ED9-F59F-B2AA-1FC942C5B5D1}"/>
              </a:ext>
            </a:extLst>
          </p:cNvPr>
          <p:cNvCxnSpPr>
            <a:cxnSpLocks/>
            <a:stCxn id="289" idx="2"/>
            <a:endCxn id="315" idx="0"/>
          </p:cNvCxnSpPr>
          <p:nvPr/>
        </p:nvCxnSpPr>
        <p:spPr>
          <a:xfrm rot="5400000">
            <a:off x="6041505" y="4557532"/>
            <a:ext cx="621109" cy="1515516"/>
          </a:xfrm>
          <a:prstGeom prst="bentConnector3">
            <a:avLst>
              <a:gd name="adj1" fmla="val 50000"/>
            </a:avLst>
          </a:prstGeom>
          <a:noFill/>
          <a:ln w="38100" cap="flat" cmpd="sng" algn="ctr">
            <a:solidFill>
              <a:srgbClr val="6FAF00"/>
            </a:solidFill>
            <a:prstDash val="solid"/>
            <a:miter lim="800000"/>
            <a:headEnd type="none" w="med" len="med"/>
            <a:tailEnd type="triangle" w="med" len="med"/>
          </a:ln>
          <a:effectLst/>
        </p:spPr>
      </p:cxnSp>
      <p:sp>
        <p:nvSpPr>
          <p:cNvPr id="315" name="TextBox 314">
            <a:extLst>
              <a:ext uri="{FF2B5EF4-FFF2-40B4-BE49-F238E27FC236}">
                <a16:creationId xmlns:a16="http://schemas.microsoft.com/office/drawing/2014/main" id="{48E111FA-4EDD-1EF4-56C2-A3EF8D3049E4}"/>
              </a:ext>
            </a:extLst>
          </p:cNvPr>
          <p:cNvSpPr txBox="1"/>
          <p:nvPr/>
        </p:nvSpPr>
        <p:spPr>
          <a:xfrm>
            <a:off x="4620465" y="5625845"/>
            <a:ext cx="1947672" cy="400110"/>
          </a:xfrm>
          <a:prstGeom prst="rect">
            <a:avLst/>
          </a:prstGeom>
          <a:noFill/>
          <a:ln w="19050" cap="flat" cmpd="sng" algn="ctr">
            <a:solidFill>
              <a:srgbClr val="6FAF00"/>
            </a:solidFill>
            <a:prstDash val="solid"/>
            <a:miter lim="800000"/>
          </a:ln>
          <a:effectLst/>
        </p:spPr>
        <p:txBody>
          <a:bodyPr wrap="square" lIns="4572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panose="00000500000000000000" pitchFamily="2" charset="0"/>
              </a:rPr>
              <a:t>Large industrial loads </a:t>
            </a:r>
            <a:endParaRPr kumimoji="0" lang="en-US" sz="1000" b="0" i="0" u="none" strike="noStrike" kern="0" cap="none" spc="0" normalizeH="0" baseline="0" noProof="0">
              <a:ln>
                <a:noFill/>
              </a:ln>
              <a:solidFill>
                <a:srgbClr val="000000"/>
              </a:solidFill>
              <a:effectLst/>
              <a:uLnTx/>
              <a:uFillTx/>
              <a:latin typeface="+mj-lt"/>
              <a:ea typeface="+mn-ea"/>
              <a:cs typeface="Poppins" panose="00000500000000000000" pitchFamily="2" charset="0"/>
            </a:endParaRPr>
          </a:p>
        </p:txBody>
      </p:sp>
      <p:sp>
        <p:nvSpPr>
          <p:cNvPr id="317" name="TextBox 316">
            <a:extLst>
              <a:ext uri="{FF2B5EF4-FFF2-40B4-BE49-F238E27FC236}">
                <a16:creationId xmlns:a16="http://schemas.microsoft.com/office/drawing/2014/main" id="{A906DFBD-376C-45FF-DF8E-1E443921D9DB}"/>
              </a:ext>
            </a:extLst>
          </p:cNvPr>
          <p:cNvSpPr txBox="1"/>
          <p:nvPr/>
        </p:nvSpPr>
        <p:spPr>
          <a:xfrm>
            <a:off x="9291130" y="5646391"/>
            <a:ext cx="1945260" cy="400110"/>
          </a:xfrm>
          <a:prstGeom prst="rect">
            <a:avLst/>
          </a:prstGeom>
          <a:noFill/>
          <a:ln w="19050" cap="flat" cmpd="sng" algn="ctr">
            <a:solidFill>
              <a:srgbClr val="FF0000"/>
            </a:solidFill>
            <a:prstDash val="solid"/>
            <a:miter lim="800000"/>
          </a:ln>
          <a:effectLst/>
        </p:spPr>
        <p:txBody>
          <a:bodyPr wrap="square" lIns="36576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j-lt"/>
                <a:ea typeface="+mn-ea"/>
                <a:cs typeface="Poppins" panose="00000500000000000000" pitchFamily="2" charset="0"/>
              </a:rPr>
              <a:t>Domestic and small commercial</a:t>
            </a:r>
            <a:endParaRPr kumimoji="0" lang="en-US" sz="1000" b="0" i="0" u="none" strike="noStrike" kern="0" cap="none" spc="0" normalizeH="0" baseline="0" noProof="0">
              <a:ln>
                <a:noFill/>
              </a:ln>
              <a:solidFill>
                <a:srgbClr val="000000"/>
              </a:solidFill>
              <a:effectLst/>
              <a:uLnTx/>
              <a:uFillTx/>
              <a:latin typeface="+mj-lt"/>
              <a:ea typeface="+mn-ea"/>
              <a:cs typeface="Poppins" panose="00000500000000000000" pitchFamily="2" charset="0"/>
            </a:endParaRPr>
          </a:p>
        </p:txBody>
      </p:sp>
      <p:cxnSp>
        <p:nvCxnSpPr>
          <p:cNvPr id="318" name="Connector: Elbow 317">
            <a:extLst>
              <a:ext uri="{FF2B5EF4-FFF2-40B4-BE49-F238E27FC236}">
                <a16:creationId xmlns:a16="http://schemas.microsoft.com/office/drawing/2014/main" id="{8AE700FE-5C92-09DF-E704-CEE4D8A40F41}"/>
              </a:ext>
            </a:extLst>
          </p:cNvPr>
          <p:cNvCxnSpPr>
            <a:cxnSpLocks/>
            <a:stCxn id="286" idx="2"/>
            <a:endCxn id="317" idx="0"/>
          </p:cNvCxnSpPr>
          <p:nvPr/>
        </p:nvCxnSpPr>
        <p:spPr>
          <a:xfrm rot="5400000">
            <a:off x="10488887" y="5096796"/>
            <a:ext cx="324468" cy="774722"/>
          </a:xfrm>
          <a:prstGeom prst="bentConnector3">
            <a:avLst>
              <a:gd name="adj1" fmla="val 22837"/>
            </a:avLst>
          </a:prstGeom>
          <a:noFill/>
          <a:ln w="38100" cap="flat" cmpd="sng" algn="ctr">
            <a:solidFill>
              <a:srgbClr val="FF0000"/>
            </a:solidFill>
            <a:prstDash val="solid"/>
            <a:miter lim="800000"/>
            <a:headEnd type="none" w="med" len="med"/>
            <a:tailEnd type="triangle" w="med" len="med"/>
          </a:ln>
          <a:effectLst/>
        </p:spPr>
      </p:cxnSp>
      <p:pic>
        <p:nvPicPr>
          <p:cNvPr id="320" name="Graphic 319" descr="Factory outline">
            <a:extLst>
              <a:ext uri="{FF2B5EF4-FFF2-40B4-BE49-F238E27FC236}">
                <a16:creationId xmlns:a16="http://schemas.microsoft.com/office/drawing/2014/main" id="{02DF7EF9-0B99-7160-4923-BD5DFA0C9CA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20466" y="5597445"/>
            <a:ext cx="457200" cy="457200"/>
          </a:xfrm>
          <a:prstGeom prst="rect">
            <a:avLst/>
          </a:prstGeom>
        </p:spPr>
      </p:pic>
      <p:pic>
        <p:nvPicPr>
          <p:cNvPr id="321" name="Graphic 320" descr="Factory outline">
            <a:extLst>
              <a:ext uri="{FF2B5EF4-FFF2-40B4-BE49-F238E27FC236}">
                <a16:creationId xmlns:a16="http://schemas.microsoft.com/office/drawing/2014/main" id="{C83078B7-A2E8-2470-E95F-13D0593E2E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25880" y="5597445"/>
            <a:ext cx="457200" cy="457200"/>
          </a:xfrm>
          <a:prstGeom prst="rect">
            <a:avLst/>
          </a:prstGeom>
        </p:spPr>
      </p:pic>
      <p:pic>
        <p:nvPicPr>
          <p:cNvPr id="322" name="Graphic 321" descr="House with solid fill">
            <a:extLst>
              <a:ext uri="{FF2B5EF4-FFF2-40B4-BE49-F238E27FC236}">
                <a16:creationId xmlns:a16="http://schemas.microsoft.com/office/drawing/2014/main" id="{8061DEAC-87AB-4C66-A040-A9191C26B1D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93247" y="5603231"/>
            <a:ext cx="457200" cy="457200"/>
          </a:xfrm>
          <a:prstGeom prst="rect">
            <a:avLst/>
          </a:prstGeom>
        </p:spPr>
      </p:pic>
      <p:sp>
        <p:nvSpPr>
          <p:cNvPr id="323" name="TextBox 322">
            <a:extLst>
              <a:ext uri="{FF2B5EF4-FFF2-40B4-BE49-F238E27FC236}">
                <a16:creationId xmlns:a16="http://schemas.microsoft.com/office/drawing/2014/main" id="{90468787-8C68-7052-D090-093C8B836E59}"/>
              </a:ext>
            </a:extLst>
          </p:cNvPr>
          <p:cNvSpPr txBox="1"/>
          <p:nvPr/>
        </p:nvSpPr>
        <p:spPr>
          <a:xfrm>
            <a:off x="2181055" y="5619821"/>
            <a:ext cx="1947672" cy="400110"/>
          </a:xfrm>
          <a:prstGeom prst="rect">
            <a:avLst/>
          </a:prstGeom>
          <a:solidFill>
            <a:srgbClr val="FFC000"/>
          </a:solidFill>
          <a:ln>
            <a:solidFill>
              <a:srgbClr val="FFC000"/>
            </a:solidFill>
          </a:ln>
        </p:spPr>
        <p:style>
          <a:lnRef idx="2">
            <a:schemeClr val="dk1"/>
          </a:lnRef>
          <a:fillRef idx="1">
            <a:schemeClr val="lt1"/>
          </a:fillRef>
          <a:effectRef idx="0">
            <a:schemeClr val="dk1"/>
          </a:effectRef>
          <a:fontRef idx="minor">
            <a:schemeClr val="dk1"/>
          </a:fontRef>
        </p:style>
        <p:txBody>
          <a:bodyPr wrap="square" lIns="4572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Poppins" panose="00000500000000000000" pitchFamily="2" charset="0"/>
                <a:ea typeface="+mn-ea"/>
                <a:cs typeface="Poppins" panose="00000500000000000000" pitchFamily="2" charset="0"/>
              </a:rPr>
              <a:t>Large industrial loads </a:t>
            </a:r>
            <a:endParaRPr kumimoji="0" lang="en-US" sz="1000" b="0" i="0" u="none" strike="noStrike" kern="1200" cap="none" spc="0" normalizeH="0" baseline="0" noProof="0">
              <a:ln>
                <a:noFill/>
              </a:ln>
              <a:solidFill>
                <a:srgbClr val="000000"/>
              </a:solidFill>
              <a:effectLst/>
              <a:uLnTx/>
              <a:uFillTx/>
              <a:latin typeface="Poppins" panose="00000500000000000000" pitchFamily="2" charset="0"/>
              <a:ea typeface="+mn-ea"/>
              <a:cs typeface="Poppins" panose="00000500000000000000" pitchFamily="2" charset="0"/>
            </a:endParaRPr>
          </a:p>
        </p:txBody>
      </p:sp>
      <p:pic>
        <p:nvPicPr>
          <p:cNvPr id="325" name="Graphic 324" descr="Factory outline">
            <a:extLst>
              <a:ext uri="{FF2B5EF4-FFF2-40B4-BE49-F238E27FC236}">
                <a16:creationId xmlns:a16="http://schemas.microsoft.com/office/drawing/2014/main" id="{8A870031-796C-762B-3D7F-4BE4AB188B2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55140" y="5580838"/>
            <a:ext cx="457200" cy="457200"/>
          </a:xfrm>
          <a:prstGeom prst="rect">
            <a:avLst/>
          </a:prstGeom>
        </p:spPr>
      </p:pic>
      <p:cxnSp>
        <p:nvCxnSpPr>
          <p:cNvPr id="328" name="Connector: Elbow 327">
            <a:extLst>
              <a:ext uri="{FF2B5EF4-FFF2-40B4-BE49-F238E27FC236}">
                <a16:creationId xmlns:a16="http://schemas.microsoft.com/office/drawing/2014/main" id="{2C77E0BF-1724-5FA9-6149-533BC3F3998A}"/>
              </a:ext>
            </a:extLst>
          </p:cNvPr>
          <p:cNvCxnSpPr>
            <a:cxnSpLocks/>
            <a:stCxn id="287" idx="2"/>
            <a:endCxn id="323" idx="0"/>
          </p:cNvCxnSpPr>
          <p:nvPr/>
        </p:nvCxnSpPr>
        <p:spPr>
          <a:xfrm rot="5400000">
            <a:off x="3359326" y="4875619"/>
            <a:ext cx="539767" cy="948636"/>
          </a:xfrm>
          <a:prstGeom prst="bentConnector3">
            <a:avLst>
              <a:gd name="adj1" fmla="val 50000"/>
            </a:avLst>
          </a:prstGeom>
          <a:ln w="38100">
            <a:solidFill>
              <a:srgbClr val="FFC000"/>
            </a:solidFill>
            <a:prstDash val="soli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62" name="TextBox 361">
            <a:extLst>
              <a:ext uri="{FF2B5EF4-FFF2-40B4-BE49-F238E27FC236}">
                <a16:creationId xmlns:a16="http://schemas.microsoft.com/office/drawing/2014/main" id="{6E9083DF-CB47-DA70-FD0A-6C9A545CB9A4}"/>
              </a:ext>
            </a:extLst>
          </p:cNvPr>
          <p:cNvSpPr txBox="1"/>
          <p:nvPr/>
        </p:nvSpPr>
        <p:spPr>
          <a:xfrm>
            <a:off x="6036918" y="3878107"/>
            <a:ext cx="1119616" cy="553998"/>
          </a:xfrm>
          <a:prstGeom prst="rect">
            <a:avLst/>
          </a:prstGeom>
          <a:solidFill>
            <a:srgbClr val="92D050"/>
          </a:solidFill>
        </p:spPr>
        <p:txBody>
          <a:bodyPr wrap="square" rtlCol="0">
            <a:spAutoFit/>
          </a:bodyPr>
          <a:lstStyle/>
          <a:p>
            <a:pPr algn="ctr"/>
            <a:r>
              <a:rPr lang="en-US" sz="1000" b="1">
                <a:solidFill>
                  <a:schemeClr val="bg1"/>
                </a:solidFill>
                <a:latin typeface="+mj-lt"/>
                <a:cs typeface="Poppins" panose="00000500000000000000" pitchFamily="2" charset="0"/>
              </a:rPr>
              <a:t>Intermediate Pressure</a:t>
            </a:r>
          </a:p>
          <a:p>
            <a:pPr algn="ctr"/>
            <a:r>
              <a:rPr lang="en-US" sz="1000">
                <a:solidFill>
                  <a:schemeClr val="bg1"/>
                </a:solidFill>
                <a:latin typeface="+mj-lt"/>
                <a:cs typeface="Poppins" panose="00000500000000000000" pitchFamily="2" charset="0"/>
              </a:rPr>
              <a:t>7 bar </a:t>
            </a:r>
            <a:r>
              <a:rPr lang="en-US" sz="1000">
                <a:solidFill>
                  <a:schemeClr val="bg1"/>
                </a:solidFill>
                <a:latin typeface="+mj-lt"/>
                <a:cs typeface="Poppins" panose="00000500000000000000" pitchFamily="2" charset="0"/>
                <a:sym typeface="Wingdings" panose="05000000000000000000" pitchFamily="2" charset="2"/>
              </a:rPr>
              <a:t>&gt; 2 bar</a:t>
            </a:r>
            <a:endParaRPr lang="en-GB" sz="1000">
              <a:solidFill>
                <a:schemeClr val="bg1"/>
              </a:solidFill>
              <a:latin typeface="+mj-lt"/>
              <a:cs typeface="Poppins" panose="00000500000000000000" pitchFamily="2" charset="0"/>
            </a:endParaRPr>
          </a:p>
        </p:txBody>
      </p:sp>
      <p:sp>
        <p:nvSpPr>
          <p:cNvPr id="363" name="TextBox 362">
            <a:extLst>
              <a:ext uri="{FF2B5EF4-FFF2-40B4-BE49-F238E27FC236}">
                <a16:creationId xmlns:a16="http://schemas.microsoft.com/office/drawing/2014/main" id="{3AA55660-B405-435D-9B0A-78F1FA79E96E}"/>
              </a:ext>
            </a:extLst>
          </p:cNvPr>
          <p:cNvSpPr txBox="1"/>
          <p:nvPr/>
        </p:nvSpPr>
        <p:spPr>
          <a:xfrm>
            <a:off x="8365478" y="3904620"/>
            <a:ext cx="1175506" cy="553998"/>
          </a:xfrm>
          <a:prstGeom prst="rect">
            <a:avLst/>
          </a:prstGeom>
          <a:solidFill>
            <a:srgbClr val="00B0F0"/>
          </a:solidFill>
        </p:spPr>
        <p:txBody>
          <a:bodyPr wrap="square" rtlCol="0">
            <a:spAutoFit/>
          </a:bodyPr>
          <a:lstStyle/>
          <a:p>
            <a:pPr algn="ctr"/>
            <a:r>
              <a:rPr lang="en-US" sz="1000" b="1">
                <a:solidFill>
                  <a:schemeClr val="bg1"/>
                </a:solidFill>
                <a:latin typeface="+mj-lt"/>
                <a:cs typeface="Poppins" panose="00000500000000000000" pitchFamily="2" charset="0"/>
              </a:rPr>
              <a:t>Medium Pressure</a:t>
            </a:r>
          </a:p>
          <a:p>
            <a:pPr algn="ctr"/>
            <a:r>
              <a:rPr lang="en-US" sz="1000">
                <a:solidFill>
                  <a:schemeClr val="bg1"/>
                </a:solidFill>
                <a:latin typeface="+mj-lt"/>
                <a:cs typeface="Poppins" panose="00000500000000000000" pitchFamily="2" charset="0"/>
              </a:rPr>
              <a:t>2 bar </a:t>
            </a:r>
            <a:r>
              <a:rPr lang="en-US" sz="1000">
                <a:solidFill>
                  <a:schemeClr val="bg1"/>
                </a:solidFill>
                <a:latin typeface="+mj-lt"/>
                <a:cs typeface="Poppins" panose="00000500000000000000" pitchFamily="2" charset="0"/>
                <a:sym typeface="Wingdings" panose="05000000000000000000" pitchFamily="2" charset="2"/>
              </a:rPr>
              <a:t>&gt; 75 mbar</a:t>
            </a:r>
            <a:endParaRPr lang="en-GB" sz="1000">
              <a:solidFill>
                <a:schemeClr val="bg1"/>
              </a:solidFill>
              <a:latin typeface="+mj-lt"/>
              <a:cs typeface="Poppins" panose="00000500000000000000" pitchFamily="2" charset="0"/>
            </a:endParaRPr>
          </a:p>
        </p:txBody>
      </p:sp>
      <p:sp>
        <p:nvSpPr>
          <p:cNvPr id="364" name="TextBox 363">
            <a:extLst>
              <a:ext uri="{FF2B5EF4-FFF2-40B4-BE49-F238E27FC236}">
                <a16:creationId xmlns:a16="http://schemas.microsoft.com/office/drawing/2014/main" id="{4CD05079-D93A-E15E-FAE8-3412A337456B}"/>
              </a:ext>
            </a:extLst>
          </p:cNvPr>
          <p:cNvSpPr txBox="1"/>
          <p:nvPr/>
        </p:nvSpPr>
        <p:spPr>
          <a:xfrm>
            <a:off x="10009469" y="3927519"/>
            <a:ext cx="869292" cy="553998"/>
          </a:xfrm>
          <a:prstGeom prst="rect">
            <a:avLst/>
          </a:prstGeom>
          <a:solidFill>
            <a:srgbClr val="FF0000"/>
          </a:solidFill>
        </p:spPr>
        <p:txBody>
          <a:bodyPr wrap="square" rtlCol="0">
            <a:spAutoFit/>
          </a:bodyPr>
          <a:lstStyle/>
          <a:p>
            <a:pPr algn="ctr"/>
            <a:r>
              <a:rPr lang="en-US" sz="1000" b="1">
                <a:solidFill>
                  <a:schemeClr val="bg1"/>
                </a:solidFill>
                <a:latin typeface="+mj-lt"/>
                <a:cs typeface="Poppins" panose="00000500000000000000" pitchFamily="2" charset="0"/>
              </a:rPr>
              <a:t>Low Pressure</a:t>
            </a:r>
          </a:p>
          <a:p>
            <a:pPr algn="ctr"/>
            <a:r>
              <a:rPr lang="en-US" sz="1000">
                <a:solidFill>
                  <a:schemeClr val="bg1"/>
                </a:solidFill>
                <a:latin typeface="+mj-lt"/>
                <a:cs typeface="Poppins" panose="00000500000000000000" pitchFamily="2" charset="0"/>
              </a:rPr>
              <a:t>75 mbar &gt;</a:t>
            </a:r>
            <a:endParaRPr lang="en-GB" sz="1000">
              <a:solidFill>
                <a:schemeClr val="bg1"/>
              </a:solidFill>
              <a:latin typeface="+mj-lt"/>
              <a:cs typeface="Poppins" panose="00000500000000000000" pitchFamily="2" charset="0"/>
            </a:endParaRPr>
          </a:p>
        </p:txBody>
      </p:sp>
      <p:sp>
        <p:nvSpPr>
          <p:cNvPr id="365" name="TextBox 364">
            <a:extLst>
              <a:ext uri="{FF2B5EF4-FFF2-40B4-BE49-F238E27FC236}">
                <a16:creationId xmlns:a16="http://schemas.microsoft.com/office/drawing/2014/main" id="{1CD7BC03-AF90-BCCD-415C-06BDF52134BB}"/>
              </a:ext>
            </a:extLst>
          </p:cNvPr>
          <p:cNvSpPr txBox="1"/>
          <p:nvPr/>
        </p:nvSpPr>
        <p:spPr>
          <a:xfrm>
            <a:off x="3664998" y="3874432"/>
            <a:ext cx="1052176" cy="553998"/>
          </a:xfrm>
          <a:prstGeom prst="rect">
            <a:avLst/>
          </a:prstGeom>
          <a:solidFill>
            <a:srgbClr val="FFC000"/>
          </a:solidFill>
        </p:spPr>
        <p:txBody>
          <a:bodyPr wrap="square" rtlCol="0">
            <a:spAutoFit/>
          </a:bodyPr>
          <a:lstStyle/>
          <a:p>
            <a:pPr algn="ctr"/>
            <a:r>
              <a:rPr lang="en-US" sz="1000" b="1">
                <a:solidFill>
                  <a:schemeClr val="bg1"/>
                </a:solidFill>
                <a:latin typeface="+mj-lt"/>
                <a:cs typeface="Poppins" panose="00000500000000000000" pitchFamily="2" charset="0"/>
              </a:rPr>
              <a:t>High Pressure</a:t>
            </a:r>
          </a:p>
          <a:p>
            <a:pPr algn="ctr"/>
            <a:r>
              <a:rPr lang="en-US" sz="1000">
                <a:solidFill>
                  <a:schemeClr val="bg1"/>
                </a:solidFill>
                <a:latin typeface="+mj-lt"/>
                <a:cs typeface="Poppins" panose="00000500000000000000" pitchFamily="2" charset="0"/>
              </a:rPr>
              <a:t>38 bar </a:t>
            </a:r>
            <a:r>
              <a:rPr lang="en-US" sz="1000">
                <a:solidFill>
                  <a:schemeClr val="bg1"/>
                </a:solidFill>
                <a:latin typeface="+mj-lt"/>
                <a:cs typeface="Poppins" panose="00000500000000000000" pitchFamily="2" charset="0"/>
                <a:sym typeface="Wingdings" panose="05000000000000000000" pitchFamily="2" charset="2"/>
              </a:rPr>
              <a:t>&gt; 7 bar</a:t>
            </a:r>
            <a:endParaRPr lang="en-GB" sz="1000">
              <a:solidFill>
                <a:schemeClr val="bg1"/>
              </a:solidFill>
              <a:latin typeface="+mj-lt"/>
              <a:cs typeface="Poppins" panose="00000500000000000000" pitchFamily="2" charset="0"/>
            </a:endParaRPr>
          </a:p>
        </p:txBody>
      </p:sp>
      <p:sp>
        <p:nvSpPr>
          <p:cNvPr id="366" name="Rectangle 365">
            <a:extLst>
              <a:ext uri="{FF2B5EF4-FFF2-40B4-BE49-F238E27FC236}">
                <a16:creationId xmlns:a16="http://schemas.microsoft.com/office/drawing/2014/main" id="{A564AB44-6EAA-1067-A1CD-45FC4C4EC079}"/>
              </a:ext>
            </a:extLst>
          </p:cNvPr>
          <p:cNvSpPr/>
          <p:nvPr/>
        </p:nvSpPr>
        <p:spPr>
          <a:xfrm>
            <a:off x="7612115" y="4508514"/>
            <a:ext cx="1774897" cy="728980"/>
          </a:xfrm>
          <a:prstGeom prst="rect">
            <a:avLst/>
          </a:prstGeom>
          <a:noFill/>
          <a:ln w="3810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GB"/>
          </a:p>
        </p:txBody>
      </p:sp>
      <p:cxnSp>
        <p:nvCxnSpPr>
          <p:cNvPr id="312" name="Connector: Elbow 311">
            <a:extLst>
              <a:ext uri="{FF2B5EF4-FFF2-40B4-BE49-F238E27FC236}">
                <a16:creationId xmlns:a16="http://schemas.microsoft.com/office/drawing/2014/main" id="{EFC77363-CC5B-2F29-3724-BC1AA9B4CB32}"/>
              </a:ext>
            </a:extLst>
          </p:cNvPr>
          <p:cNvCxnSpPr>
            <a:cxnSpLocks/>
            <a:stCxn id="224" idx="1"/>
            <a:endCxn id="313" idx="0"/>
          </p:cNvCxnSpPr>
          <p:nvPr/>
        </p:nvCxnSpPr>
        <p:spPr>
          <a:xfrm rot="10800000" flipV="1">
            <a:off x="8130848" y="5110055"/>
            <a:ext cx="284983" cy="515107"/>
          </a:xfrm>
          <a:prstGeom prst="bentConnector2">
            <a:avLst/>
          </a:prstGeom>
          <a:noFill/>
          <a:ln w="38100" cap="flat" cmpd="sng" algn="ctr">
            <a:solidFill>
              <a:srgbClr val="0095B0"/>
            </a:solidFill>
            <a:prstDash val="solid"/>
            <a:miter lim="800000"/>
            <a:headEnd type="none" w="med" len="med"/>
            <a:tailEnd type="triangle" w="med" len="med"/>
          </a:ln>
          <a:effectLst/>
        </p:spPr>
      </p:cxnSp>
      <p:sp>
        <p:nvSpPr>
          <p:cNvPr id="367" name="Rectangle 366">
            <a:extLst>
              <a:ext uri="{FF2B5EF4-FFF2-40B4-BE49-F238E27FC236}">
                <a16:creationId xmlns:a16="http://schemas.microsoft.com/office/drawing/2014/main" id="{7E473D84-9A8A-C1C6-773D-8F1FA3703E86}"/>
              </a:ext>
            </a:extLst>
          </p:cNvPr>
          <p:cNvSpPr/>
          <p:nvPr/>
        </p:nvSpPr>
        <p:spPr>
          <a:xfrm>
            <a:off x="637273" y="3635700"/>
            <a:ext cx="10908402" cy="2546709"/>
          </a:xfrm>
          <a:prstGeom prst="rect">
            <a:avLst/>
          </a:prstGeom>
          <a:noFill/>
          <a:ln>
            <a:solidFill>
              <a:schemeClr val="accent3"/>
            </a:solid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j-lt"/>
              <a:ea typeface="+mn-ea"/>
              <a:cs typeface="+mn-cs"/>
            </a:endParaRPr>
          </a:p>
        </p:txBody>
      </p:sp>
      <p:sp>
        <p:nvSpPr>
          <p:cNvPr id="2" name="TextBox 1">
            <a:extLst>
              <a:ext uri="{FF2B5EF4-FFF2-40B4-BE49-F238E27FC236}">
                <a16:creationId xmlns:a16="http://schemas.microsoft.com/office/drawing/2014/main" id="{FA16A8AE-4EB4-FA93-74C7-EAEADFCDABB5}"/>
              </a:ext>
            </a:extLst>
          </p:cNvPr>
          <p:cNvSpPr txBox="1"/>
          <p:nvPr/>
        </p:nvSpPr>
        <p:spPr>
          <a:xfrm>
            <a:off x="580954" y="138451"/>
            <a:ext cx="1218349" cy="307777"/>
          </a:xfrm>
          <a:prstGeom prst="rect">
            <a:avLst/>
          </a:prstGeom>
          <a:solidFill>
            <a:schemeClr val="bg1"/>
          </a:solidFill>
        </p:spPr>
        <p:txBody>
          <a:bodyPr wrap="square" rtlCol="0">
            <a:spAutoFit/>
          </a:bodyPr>
          <a:lstStyle/>
          <a:p>
            <a:r>
              <a:rPr lang="en-GB" sz="1400">
                <a:solidFill>
                  <a:schemeClr val="accent2"/>
                </a:solidFill>
              </a:rPr>
              <a:t>Public</a:t>
            </a:r>
          </a:p>
        </p:txBody>
      </p:sp>
    </p:spTree>
    <p:extLst>
      <p:ext uri="{BB962C8B-B14F-4D97-AF65-F5344CB8AC3E}">
        <p14:creationId xmlns:p14="http://schemas.microsoft.com/office/powerpoint/2010/main" val="82548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ESO II">
      <a:dk1>
        <a:sysClr val="windowText" lastClr="000000"/>
      </a:dk1>
      <a:lt1>
        <a:sysClr val="window" lastClr="FFFFFF"/>
      </a:lt1>
      <a:dk2>
        <a:srgbClr val="3F0731"/>
      </a:dk2>
      <a:lt2>
        <a:srgbClr val="070E40"/>
      </a:lt2>
      <a:accent1>
        <a:srgbClr val="3F0731"/>
      </a:accent1>
      <a:accent2>
        <a:srgbClr val="7A3864"/>
      </a:accent2>
      <a:accent3>
        <a:srgbClr val="FF00FF"/>
      </a:accent3>
      <a:accent4>
        <a:srgbClr val="070E40"/>
      </a:accent4>
      <a:accent5>
        <a:srgbClr val="385B16"/>
      </a:accent5>
      <a:accent6>
        <a:srgbClr val="B0322B"/>
      </a:accent6>
      <a:hlink>
        <a:srgbClr val="2CB9FF"/>
      </a:hlink>
      <a:folHlink>
        <a:srgbClr val="3F87AA"/>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nfidential NESO PowerPoint Template Oct 24_Poppins" id="{2990A8B2-3EC1-44D1-8BE0-F4FEF2B46A93}" vid="{427E21E7-BC16-429A-9845-F974F2DE1266}"/>
    </a:ext>
  </a:extLst>
</a:theme>
</file>

<file path=ppt/theme/theme2.xml><?xml version="1.0" encoding="utf-8"?>
<a:theme xmlns:a="http://schemas.openxmlformats.org/drawingml/2006/main" name="1_Office Theme">
  <a:themeElements>
    <a:clrScheme name="NESO II">
      <a:dk1>
        <a:sysClr val="windowText" lastClr="000000"/>
      </a:dk1>
      <a:lt1>
        <a:sysClr val="window" lastClr="FFFFFF"/>
      </a:lt1>
      <a:dk2>
        <a:srgbClr val="3F0731"/>
      </a:dk2>
      <a:lt2>
        <a:srgbClr val="070E40"/>
      </a:lt2>
      <a:accent1>
        <a:srgbClr val="3F0731"/>
      </a:accent1>
      <a:accent2>
        <a:srgbClr val="7A3864"/>
      </a:accent2>
      <a:accent3>
        <a:srgbClr val="FF00FF"/>
      </a:accent3>
      <a:accent4>
        <a:srgbClr val="070E40"/>
      </a:accent4>
      <a:accent5>
        <a:srgbClr val="385B16"/>
      </a:accent5>
      <a:accent6>
        <a:srgbClr val="B0322B"/>
      </a:accent6>
      <a:hlink>
        <a:srgbClr val="2CB9FF"/>
      </a:hlink>
      <a:folHlink>
        <a:srgbClr val="3F87AA"/>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ublic NESO PowerPoint Template Oct 24_Poppins" id="{0B848E8A-2525-40A8-844B-437F1B8E4541}" vid="{32626F69-E8C7-47C9-8D2B-BB1B27CA693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63cc5491-11d0-42b6-aa67-deea8f49087f" xsi:nil="true"/>
    <lcf76f155ced4ddcb4097134ff3c332f xmlns="63cc5491-11d0-42b6-aa67-deea8f49087f">
      <Terms xmlns="http://schemas.microsoft.com/office/infopath/2007/PartnerControls"/>
    </lcf76f155ced4ddcb4097134ff3c332f>
    <Workstream xmlns="63cc5491-11d0-42b6-aa67-deea8f49087f" xsi:nil="true"/>
    <TaxCatchAll xmlns="35ebc48a-dc9e-45bc-8496-b347132bae57" xsi:nil="true"/>
    <test xmlns="63cc5491-11d0-42b6-aa67-deea8f49087f" xsi:nil="true"/>
    <StrategicLead xmlns="96a621df-b342-41a2-9103-1aacfe10f81f">
      <UserInfo>
        <DisplayName/>
        <AccountId xsi:nil="true"/>
        <AccountType/>
      </UserInfo>
    </StrategicLea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4C46F44E5CB4144B14721DA3AAC8360" ma:contentTypeVersion="8" ma:contentTypeDescription="Create a new document." ma:contentTypeScope="" ma:versionID="a60dba6962d0628a9dce3f625bb95ae0">
  <xsd:schema xmlns:xsd="http://www.w3.org/2001/XMLSchema" xmlns:xs="http://www.w3.org/2001/XMLSchema" xmlns:p="http://schemas.microsoft.com/office/2006/metadata/properties" xmlns:ns2="96a621df-b342-41a2-9103-1aacfe10f81f" xmlns:ns3="1e343ec6-2c1b-480f-bbaf-b08a100899b9" xmlns:ns4="63cc5491-11d0-42b6-aa67-deea8f49087f" xmlns:ns5="35ebc48a-dc9e-45bc-8496-b347132bae57" targetNamespace="http://schemas.microsoft.com/office/2006/metadata/properties" ma:root="true" ma:fieldsID="c9e28bc29f985c0fdc27383dbbf0ad1f" ns2:_="" ns3:_="" ns4:_="" ns5:_="">
    <xsd:import namespace="96a621df-b342-41a2-9103-1aacfe10f81f"/>
    <xsd:import namespace="1e343ec6-2c1b-480f-bbaf-b08a100899b9"/>
    <xsd:import namespace="63cc5491-11d0-42b6-aa67-deea8f49087f"/>
    <xsd:import namespace="35ebc48a-dc9e-45bc-8496-b347132bae5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StrategicLead" minOccurs="0"/>
                <xsd:element ref="ns2:MediaServiceBillingMetadata" minOccurs="0"/>
                <xsd:element ref="ns4:lcf76f155ced4ddcb4097134ff3c332f" minOccurs="0"/>
                <xsd:element ref="ns5:TaxCatchAll" minOccurs="0"/>
                <xsd:element ref="ns4:_Flow_SignoffStatus" minOccurs="0"/>
                <xsd:element ref="ns4:Workstream" minOccurs="0"/>
                <xsd:element ref="ns4:tes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a621df-b342-41a2-9103-1aacfe10f8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StrategicLead" ma:index="20" nillable="true" ma:displayName="Strategic Lead" ma:list="UserInfo" ma:SharePointGroup="0" ma:internalName="StrategicLead">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343ec6-2c1b-480f-bbaf-b08a100899b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cc5491-11d0-42b6-aa67-deea8f49087f" elementFormDefault="qualified">
    <xsd:import namespace="http://schemas.microsoft.com/office/2006/documentManagement/types"/>
    <xsd:import namespace="http://schemas.microsoft.com/office/infopath/2007/PartnerControls"/>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85fefd14-5d55-4234-9e3d-a596bbbe9ae8" ma:termSetId="09814cd3-568e-fe90-9814-8d621ff8fb84" ma:anchorId="fba54fb3-c3e1-fe81-a776-ca4b69148c4d" ma:open="true" ma:isKeyword="false">
      <xsd:complexType>
        <xsd:sequence>
          <xsd:element ref="pc:Terms" minOccurs="0" maxOccurs="1"/>
        </xsd:sequence>
      </xsd:complexType>
    </xsd:element>
    <xsd:element name="_Flow_SignoffStatus" ma:index="25" nillable="true" ma:displayName="Sign-off status" ma:internalName="_x0024_Resources_x003a_core_x002c_Signoff_Status">
      <xsd:simpleType>
        <xsd:restriction base="dms:Text"/>
      </xsd:simpleType>
    </xsd:element>
    <xsd:element name="Workstream" ma:index="26" nillable="true" ma:displayName="Workstream" ma:format="Dropdown" ma:internalName="Workstream">
      <xsd:simpleType>
        <xsd:restriction base="dms:Choice">
          <xsd:enumeration value="Digital and Data"/>
          <xsd:enumeration value="Digital Implementation"/>
          <xsd:enumeration value="Engagement and Communications"/>
          <xsd:enumeration value="Governance"/>
          <xsd:enumeration value="Methodology"/>
          <xsd:enumeration value="Op Model"/>
          <xsd:enumeration value="Regional"/>
          <xsd:enumeration value="RESP Programme"/>
          <xsd:enumeration value="RESP PMO"/>
        </xsd:restriction>
      </xsd:simpleType>
    </xsd:element>
    <xsd:element name="test" ma:index="27" nillable="true" ma:displayName="Sensitivity_tag" ma:format="Dropdown" ma:internalName="test">
      <xsd:simpleType>
        <xsd:restriction base="dms:Choice">
          <xsd:enumeration value="Public"/>
          <xsd:enumeration value="General"/>
          <xsd:enumeration value="Confidential"/>
          <xsd:enumeration value="Strictly Confidential"/>
        </xsd:restriction>
      </xsd:simpleType>
    </xsd:element>
  </xsd:schema>
  <xsd:schema xmlns:xsd="http://www.w3.org/2001/XMLSchema" xmlns:xs="http://www.w3.org/2001/XMLSchema" xmlns:dms="http://schemas.microsoft.com/office/2006/documentManagement/types" xmlns:pc="http://schemas.microsoft.com/office/infopath/2007/PartnerControls" targetNamespace="35ebc48a-dc9e-45bc-8496-b347132bae57"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239c028e-ba9e-4cf0-b9c6-f87b4be2d4a1}" ma:internalName="TaxCatchAll" ma:showField="CatchAllData" ma:web="35ebc48a-dc9e-45bc-8496-b347132bae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FA94AD-DE86-490F-9C6C-4BF9690A7379}">
  <ds:schemaRefs>
    <ds:schemaRef ds:uri="1e343ec6-2c1b-480f-bbaf-b08a100899b9"/>
    <ds:schemaRef ds:uri="35ebc48a-dc9e-45bc-8496-b347132bae57"/>
    <ds:schemaRef ds:uri="63cc5491-11d0-42b6-aa67-deea8f49087f"/>
    <ds:schemaRef ds:uri="96a621df-b342-41a2-9103-1aacfe10f8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F537016-D07C-43B7-BD80-997D18EDB5DA}">
  <ds:schemaRefs>
    <ds:schemaRef ds:uri="1e343ec6-2c1b-480f-bbaf-b08a100899b9"/>
    <ds:schemaRef ds:uri="35ebc48a-dc9e-45bc-8496-b347132bae57"/>
    <ds:schemaRef ds:uri="63cc5491-11d0-42b6-aa67-deea8f49087f"/>
    <ds:schemaRef ds:uri="96a621df-b342-41a2-9103-1aacfe10f8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BD7E8B1-540E-4D04-ABE8-C47721F2E3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0</Slides>
  <Notes>11</Notes>
  <HiddenSlides>0</HiddenSlide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1_Office Theme</vt:lpstr>
      <vt:lpstr>1_Office Theme</vt:lpstr>
      <vt:lpstr>PowerPoint Presentation</vt:lpstr>
      <vt:lpstr>Agenda</vt:lpstr>
      <vt:lpstr>Session aims</vt:lpstr>
      <vt:lpstr>RESP Methodology areas for further development - web page</vt:lpstr>
      <vt:lpstr>Spatial Context for Gas and Biomethane  </vt:lpstr>
      <vt:lpstr>Reminder: What is Spatial Context?</vt:lpstr>
      <vt:lpstr>Spatial Context </vt:lpstr>
      <vt:lpstr>PowerPoint Presentation</vt:lpstr>
      <vt:lpstr>Gas (Demand)</vt:lpstr>
      <vt:lpstr>Biomethane (Supply) </vt:lpstr>
      <vt:lpstr>Network Asset Granularity</vt:lpstr>
      <vt:lpstr>Plenary Q&amp;A </vt:lpstr>
      <vt:lpstr>Breakout Workshops </vt:lpstr>
      <vt:lpstr>Breakout Room Structure</vt:lpstr>
      <vt:lpstr>Breakout Room Guide</vt:lpstr>
      <vt:lpstr>Car park </vt:lpstr>
      <vt:lpstr>Feedback &amp; discussion</vt:lpstr>
      <vt:lpstr>Feedback &amp; Discussion (20 mins)</vt:lpstr>
      <vt:lpstr>Next steps</vt:lpstr>
      <vt:lpstr>How to respo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ick Smith</dc:creator>
  <cp:revision>1</cp:revision>
  <dcterms:created xsi:type="dcterms:W3CDTF">2026-02-18T16:09:31Z</dcterms:created>
  <dcterms:modified xsi:type="dcterms:W3CDTF">2026-03-06T09:4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C46F44E5CB4144B14721DA3AAC8360</vt:lpwstr>
  </property>
  <property fmtid="{D5CDD505-2E9C-101B-9397-08002B2CF9AE}" pid="3" name="MediaServiceImageTags">
    <vt:lpwstr/>
  </property>
</Properties>
</file>